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59" r:id="rId1"/>
  </p:sldMasterIdLst>
  <p:notesMasterIdLst>
    <p:notesMasterId r:id="rId22"/>
  </p:notesMasterIdLst>
  <p:sldIdLst>
    <p:sldId id="256" r:id="rId2"/>
    <p:sldId id="305" r:id="rId3"/>
    <p:sldId id="261" r:id="rId4"/>
    <p:sldId id="312" r:id="rId5"/>
    <p:sldId id="289" r:id="rId6"/>
    <p:sldId id="290" r:id="rId7"/>
    <p:sldId id="294" r:id="rId8"/>
    <p:sldId id="293" r:id="rId9"/>
    <p:sldId id="296" r:id="rId10"/>
    <p:sldId id="299" r:id="rId11"/>
    <p:sldId id="314" r:id="rId12"/>
    <p:sldId id="297" r:id="rId13"/>
    <p:sldId id="317" r:id="rId14"/>
    <p:sldId id="300" r:id="rId15"/>
    <p:sldId id="310" r:id="rId16"/>
    <p:sldId id="316" r:id="rId17"/>
    <p:sldId id="298" r:id="rId18"/>
    <p:sldId id="306" r:id="rId19"/>
    <p:sldId id="302" r:id="rId20"/>
    <p:sldId id="303" r:id="rId21"/>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E660FDC3-2991-4007-AE60-DE4AA3CF7E75}">
  <a:tblStyle styleId="{E660FDC3-2991-4007-AE60-DE4AA3CF7E75}"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907" autoAdjust="0"/>
  </p:normalViewPr>
  <p:slideViewPr>
    <p:cSldViewPr>
      <p:cViewPr varScale="1">
        <p:scale>
          <a:sx n="94" d="100"/>
          <a:sy n="94" d="100"/>
        </p:scale>
        <p:origin x="-696"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chartUserShapes" Target="../drawings/drawing1.xml"/><Relationship Id="rId1" Type="http://schemas.openxmlformats.org/officeDocument/2006/relationships/package" Target="../embeddings/Microsoft_Excel_Worksheet1.xlsx"/><Relationship Id="rId4"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335958005249342E-2"/>
          <c:y val="2.0890748031496063E-2"/>
          <c:w val="0.90049622703412069"/>
          <c:h val="0.79995374015748033"/>
        </c:manualLayout>
      </c:layout>
      <c:barChart>
        <c:barDir val="col"/>
        <c:grouping val="clustered"/>
        <c:varyColors val="0"/>
        <c:ser>
          <c:idx val="0"/>
          <c:order val="0"/>
          <c:tx>
            <c:strRef>
              <c:f>Sheet1!$B$1</c:f>
              <c:strCache>
                <c:ptCount val="1"/>
                <c:pt idx="0">
                  <c:v>Before system</c:v>
                </c:pt>
              </c:strCache>
            </c:strRef>
          </c:tx>
          <c:spPr>
            <a:solidFill>
              <a:schemeClr val="accent1"/>
            </a:solidFill>
            <a:ln>
              <a:noFill/>
            </a:ln>
            <a:effectLst/>
          </c:spPr>
          <c:invertIfNegative val="0"/>
          <c:cat>
            <c:strRef>
              <c:f>Sheet1!$A$2:$A$5</c:f>
              <c:strCache>
                <c:ptCount val="2"/>
                <c:pt idx="0">
                  <c:v>Current time of task</c:v>
                </c:pt>
                <c:pt idx="1">
                  <c:v>Future time of task</c:v>
                </c:pt>
              </c:strCache>
            </c:strRef>
          </c:cat>
          <c:val>
            <c:numRef>
              <c:f>Sheet1!$B$2:$B$5</c:f>
              <c:numCache>
                <c:formatCode>General</c:formatCode>
                <c:ptCount val="4"/>
                <c:pt idx="0">
                  <c:v>120</c:v>
                </c:pt>
                <c:pt idx="1">
                  <c:v>60</c:v>
                </c:pt>
              </c:numCache>
            </c:numRef>
          </c:val>
          <c:extLst xmlns:c16r2="http://schemas.microsoft.com/office/drawing/2015/06/chart">
            <c:ext xmlns:c16="http://schemas.microsoft.com/office/drawing/2014/chart" uri="{C3380CC4-5D6E-409C-BE32-E72D297353CC}">
              <c16:uniqueId val="{00000000-E29A-4D19-999A-FCFD31952A63}"/>
            </c:ext>
          </c:extLst>
        </c:ser>
        <c:ser>
          <c:idx val="1"/>
          <c:order val="1"/>
          <c:tx>
            <c:strRef>
              <c:f>Sheet1!$C$1</c:f>
              <c:strCache>
                <c:ptCount val="1"/>
                <c:pt idx="0">
                  <c:v>After system</c:v>
                </c:pt>
              </c:strCache>
            </c:strRef>
          </c:tx>
          <c:spPr>
            <a:solidFill>
              <a:schemeClr val="accent2"/>
            </a:solidFill>
            <a:ln>
              <a:noFill/>
            </a:ln>
            <a:effectLst/>
          </c:spPr>
          <c:invertIfNegative val="0"/>
          <c:cat>
            <c:strRef>
              <c:f>Sheet1!$A$2:$A$5</c:f>
              <c:strCache>
                <c:ptCount val="2"/>
                <c:pt idx="0">
                  <c:v>Current time of task</c:v>
                </c:pt>
                <c:pt idx="1">
                  <c:v>Future time of task</c:v>
                </c:pt>
              </c:strCache>
            </c:strRef>
          </c:cat>
          <c:val>
            <c:numRef>
              <c:f>Sheet1!$C$2:$C$5</c:f>
              <c:numCache>
                <c:formatCode>General</c:formatCode>
                <c:ptCount val="4"/>
                <c:pt idx="0">
                  <c:v>20</c:v>
                </c:pt>
                <c:pt idx="1">
                  <c:v>10</c:v>
                </c:pt>
              </c:numCache>
            </c:numRef>
          </c:val>
          <c:extLst xmlns:c16r2="http://schemas.microsoft.com/office/drawing/2015/06/chart">
            <c:ext xmlns:c16="http://schemas.microsoft.com/office/drawing/2014/chart" uri="{C3380CC4-5D6E-409C-BE32-E72D297353CC}">
              <c16:uniqueId val="{00000001-E29A-4D19-999A-FCFD31952A63}"/>
            </c:ext>
          </c:extLst>
        </c:ser>
        <c:dLbls>
          <c:showLegendKey val="0"/>
          <c:showVal val="0"/>
          <c:showCatName val="0"/>
          <c:showSerName val="0"/>
          <c:showPercent val="0"/>
          <c:showBubbleSize val="0"/>
        </c:dLbls>
        <c:gapWidth val="219"/>
        <c:overlap val="-27"/>
        <c:axId val="122977280"/>
        <c:axId val="171366656"/>
      </c:barChart>
      <c:catAx>
        <c:axId val="122977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1366656"/>
        <c:crosses val="autoZero"/>
        <c:auto val="1"/>
        <c:lblAlgn val="ctr"/>
        <c:lblOffset val="100"/>
        <c:noMultiLvlLbl val="0"/>
      </c:catAx>
      <c:valAx>
        <c:axId val="1713666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977280"/>
        <c:crosses val="autoZero"/>
        <c:crossBetween val="between"/>
      </c:valAx>
      <c:spPr>
        <a:noFill/>
        <a:ln>
          <a:noFill/>
        </a:ln>
        <a:effectLst/>
      </c:spPr>
    </c:plotArea>
    <c:legend>
      <c:legendPos val="b"/>
      <c:layout>
        <c:manualLayout>
          <c:xMode val="edge"/>
          <c:yMode val="edge"/>
          <c:x val="0.28701607611548557"/>
          <c:y val="0.9367613188976377"/>
          <c:w val="0.42596768372703414"/>
          <c:h val="6.011368110236220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A4712B-8D76-464D-B5F5-E9B7AE0762B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018B13DD-99BE-4FBB-8349-160A5867AA46}">
      <dgm:prSet phldrT="[Text]"/>
      <dgm:spPr/>
      <dgm:t>
        <a:bodyPr/>
        <a:lstStyle/>
        <a:p>
          <a:r>
            <a:rPr lang="en-US" dirty="0" smtClean="0"/>
            <a:t>Ministry of  Communication &amp;Information Technology</a:t>
          </a:r>
          <a:endParaRPr lang="en-US" dirty="0"/>
        </a:p>
      </dgm:t>
    </dgm:pt>
    <dgm:pt modelId="{4674D3D9-24B9-4F8A-A29C-ACD9589F7DDC}" type="parTrans" cxnId="{374C763B-E012-47A3-832F-099910C1AB79}">
      <dgm:prSet/>
      <dgm:spPr/>
      <dgm:t>
        <a:bodyPr/>
        <a:lstStyle/>
        <a:p>
          <a:endParaRPr lang="en-US"/>
        </a:p>
      </dgm:t>
    </dgm:pt>
    <dgm:pt modelId="{F4C2F1B5-86A4-4645-A48E-88E207BFABD4}" type="sibTrans" cxnId="{374C763B-E012-47A3-832F-099910C1AB79}">
      <dgm:prSet/>
      <dgm:spPr/>
      <dgm:t>
        <a:bodyPr/>
        <a:lstStyle/>
        <a:p>
          <a:endParaRPr lang="en-US"/>
        </a:p>
      </dgm:t>
    </dgm:pt>
    <dgm:pt modelId="{2D9D9C61-AD84-4E13-9A5D-9CB5DD364BD0}">
      <dgm:prSet phldrT="[Text]"/>
      <dgm:spPr/>
      <dgm:t>
        <a:bodyPr/>
        <a:lstStyle/>
        <a:p>
          <a:r>
            <a:rPr lang="en-US" dirty="0" smtClean="0"/>
            <a:t>Telecom and Post Regulation Authority</a:t>
          </a:r>
          <a:endParaRPr lang="en-US" dirty="0"/>
        </a:p>
      </dgm:t>
    </dgm:pt>
    <dgm:pt modelId="{BFB6C153-0B86-4F20-9242-60AC6CCAE6D0}" type="parTrans" cxnId="{1BF56662-5224-4C3A-B184-31E651373821}">
      <dgm:prSet/>
      <dgm:spPr/>
      <dgm:t>
        <a:bodyPr/>
        <a:lstStyle/>
        <a:p>
          <a:endParaRPr lang="en-US"/>
        </a:p>
      </dgm:t>
    </dgm:pt>
    <dgm:pt modelId="{ED448D78-04E1-4263-AF5F-33148D63FC3E}" type="sibTrans" cxnId="{1BF56662-5224-4C3A-B184-31E651373821}">
      <dgm:prSet/>
      <dgm:spPr/>
      <dgm:t>
        <a:bodyPr/>
        <a:lstStyle/>
        <a:p>
          <a:endParaRPr lang="en-US"/>
        </a:p>
      </dgm:t>
    </dgm:pt>
    <dgm:pt modelId="{93680AD7-D992-461C-84C3-247D7108D700}">
      <dgm:prSet phldrT="[Text]"/>
      <dgm:spPr/>
      <dgm:t>
        <a:bodyPr/>
        <a:lstStyle/>
        <a:p>
          <a:r>
            <a:rPr lang="en-US" dirty="0" smtClean="0"/>
            <a:t>Nile Center for Technical Researches</a:t>
          </a:r>
          <a:endParaRPr lang="en-US" dirty="0"/>
        </a:p>
      </dgm:t>
    </dgm:pt>
    <dgm:pt modelId="{43A2E836-4495-414A-8492-22306AF33098}" type="parTrans" cxnId="{27B45FDA-27C8-46CD-886E-FD5FB746E545}">
      <dgm:prSet/>
      <dgm:spPr/>
      <dgm:t>
        <a:bodyPr/>
        <a:lstStyle/>
        <a:p>
          <a:endParaRPr lang="en-US"/>
        </a:p>
      </dgm:t>
    </dgm:pt>
    <dgm:pt modelId="{5B5D3D77-B235-44B8-B58B-E487667B2177}" type="sibTrans" cxnId="{27B45FDA-27C8-46CD-886E-FD5FB746E545}">
      <dgm:prSet/>
      <dgm:spPr/>
      <dgm:t>
        <a:bodyPr/>
        <a:lstStyle/>
        <a:p>
          <a:endParaRPr lang="en-US"/>
        </a:p>
      </dgm:t>
    </dgm:pt>
    <dgm:pt modelId="{D2C1881D-EB36-4090-9128-42BC775BB39B}">
      <dgm:prSet/>
      <dgm:spPr/>
      <dgm:t>
        <a:bodyPr/>
        <a:lstStyle/>
        <a:p>
          <a:r>
            <a:rPr lang="en-US" dirty="0" smtClean="0"/>
            <a:t>National Information Center(General Manager)</a:t>
          </a:r>
          <a:endParaRPr lang="en-US" dirty="0"/>
        </a:p>
      </dgm:t>
    </dgm:pt>
    <dgm:pt modelId="{5394284B-C5D3-46CB-84A3-F43BA1EEFCA6}" type="parTrans" cxnId="{8D017A7A-BA91-4AC2-84BD-1F5E89A46ECE}">
      <dgm:prSet/>
      <dgm:spPr/>
      <dgm:t>
        <a:bodyPr/>
        <a:lstStyle/>
        <a:p>
          <a:endParaRPr lang="en-US"/>
        </a:p>
      </dgm:t>
    </dgm:pt>
    <dgm:pt modelId="{71C5E0A3-8786-4052-B8EC-FF3155ADAD15}" type="sibTrans" cxnId="{8D017A7A-BA91-4AC2-84BD-1F5E89A46ECE}">
      <dgm:prSet/>
      <dgm:spPr/>
      <dgm:t>
        <a:bodyPr/>
        <a:lstStyle/>
        <a:p>
          <a:endParaRPr lang="en-US"/>
        </a:p>
      </dgm:t>
    </dgm:pt>
    <dgm:pt modelId="{F3C56F96-7D4C-4ADC-839B-B583E52D35D8}">
      <dgm:prSet/>
      <dgm:spPr/>
      <dgm:t>
        <a:bodyPr/>
        <a:lstStyle/>
        <a:p>
          <a:r>
            <a:rPr lang="en-US" dirty="0" smtClean="0"/>
            <a:t>National Authority for Digital Certification</a:t>
          </a:r>
          <a:endParaRPr lang="en-US" dirty="0"/>
        </a:p>
      </dgm:t>
    </dgm:pt>
    <dgm:pt modelId="{68DCDD65-3424-49B7-A85B-42853082E604}" type="parTrans" cxnId="{8B057BB0-89D4-4C63-9373-8193FDBAB2D7}">
      <dgm:prSet/>
      <dgm:spPr/>
      <dgm:t>
        <a:bodyPr/>
        <a:lstStyle/>
        <a:p>
          <a:endParaRPr lang="en-US"/>
        </a:p>
      </dgm:t>
    </dgm:pt>
    <dgm:pt modelId="{D19F517C-4705-426B-98AB-9D245C7EFEE0}" type="sibTrans" cxnId="{8B057BB0-89D4-4C63-9373-8193FDBAB2D7}">
      <dgm:prSet/>
      <dgm:spPr/>
      <dgm:t>
        <a:bodyPr/>
        <a:lstStyle/>
        <a:p>
          <a:endParaRPr lang="en-US"/>
        </a:p>
      </dgm:t>
    </dgm:pt>
    <dgm:pt modelId="{133D54DF-B731-4ED2-A0F0-751DC2EB9366}">
      <dgm:prSet/>
      <dgm:spPr/>
      <dgm:t>
        <a:bodyPr/>
        <a:lstStyle/>
        <a:p>
          <a:r>
            <a:rPr lang="en-US" dirty="0" smtClean="0"/>
            <a:t>Portal and E.services </a:t>
          </a:r>
          <a:endParaRPr lang="en-US" dirty="0"/>
        </a:p>
      </dgm:t>
    </dgm:pt>
    <dgm:pt modelId="{0D5AFA84-EA94-4482-AAAA-C2FF99FF872F}" type="parTrans" cxnId="{BD58E80E-A131-4F72-A347-213CFE0FDD59}">
      <dgm:prSet/>
      <dgm:spPr/>
      <dgm:t>
        <a:bodyPr/>
        <a:lstStyle/>
        <a:p>
          <a:endParaRPr lang="en-US"/>
        </a:p>
      </dgm:t>
    </dgm:pt>
    <dgm:pt modelId="{17A0E005-A90E-4425-B345-459CD79F3874}" type="sibTrans" cxnId="{BD58E80E-A131-4F72-A347-213CFE0FDD59}">
      <dgm:prSet/>
      <dgm:spPr/>
      <dgm:t>
        <a:bodyPr/>
        <a:lstStyle/>
        <a:p>
          <a:endParaRPr lang="en-US"/>
        </a:p>
      </dgm:t>
    </dgm:pt>
    <dgm:pt modelId="{5986D1F9-5752-4415-933A-3B20C6B0BDE8}">
      <dgm:prSet/>
      <dgm:spPr/>
      <dgm:t>
        <a:bodyPr/>
        <a:lstStyle/>
        <a:p>
          <a:r>
            <a:rPr lang="en-US" dirty="0" smtClean="0"/>
            <a:t>Applications &amp; systems </a:t>
          </a:r>
          <a:endParaRPr lang="en-US" dirty="0"/>
        </a:p>
      </dgm:t>
    </dgm:pt>
    <dgm:pt modelId="{FAF73CAC-D378-4F94-A4CB-A41049702C22}" type="parTrans" cxnId="{1A52A796-CBA1-43B6-9E60-1DFAC0F11BA2}">
      <dgm:prSet/>
      <dgm:spPr/>
      <dgm:t>
        <a:bodyPr/>
        <a:lstStyle/>
        <a:p>
          <a:endParaRPr lang="en-US"/>
        </a:p>
      </dgm:t>
    </dgm:pt>
    <dgm:pt modelId="{67BD7820-D3DA-4E7E-9F16-7F58F052BA28}" type="sibTrans" cxnId="{1A52A796-CBA1-43B6-9E60-1DFAC0F11BA2}">
      <dgm:prSet/>
      <dgm:spPr/>
      <dgm:t>
        <a:bodyPr/>
        <a:lstStyle/>
        <a:p>
          <a:endParaRPr lang="en-US"/>
        </a:p>
      </dgm:t>
    </dgm:pt>
    <dgm:pt modelId="{EAF62D20-F7C3-4D1E-A087-363BBE29A0CD}">
      <dgm:prSet/>
      <dgm:spPr/>
      <dgm:t>
        <a:bodyPr/>
        <a:lstStyle/>
        <a:p>
          <a:r>
            <a:rPr lang="en-US" dirty="0" smtClean="0"/>
            <a:t>Infrastructure  </a:t>
          </a:r>
          <a:endParaRPr lang="en-US" dirty="0"/>
        </a:p>
      </dgm:t>
    </dgm:pt>
    <dgm:pt modelId="{F3F1B6DB-442B-48AC-91E0-85B8149B8D7B}" type="parTrans" cxnId="{61A9FB31-D33B-4FF9-99F6-252C2361FB59}">
      <dgm:prSet/>
      <dgm:spPr/>
      <dgm:t>
        <a:bodyPr/>
        <a:lstStyle/>
        <a:p>
          <a:endParaRPr lang="en-US"/>
        </a:p>
      </dgm:t>
    </dgm:pt>
    <dgm:pt modelId="{53DBE64B-EF54-4F7F-916E-AE21304306D8}" type="sibTrans" cxnId="{61A9FB31-D33B-4FF9-99F6-252C2361FB59}">
      <dgm:prSet/>
      <dgm:spPr/>
      <dgm:t>
        <a:bodyPr/>
        <a:lstStyle/>
        <a:p>
          <a:endParaRPr lang="en-US"/>
        </a:p>
      </dgm:t>
    </dgm:pt>
    <dgm:pt modelId="{288B9958-D8A1-4F26-830F-325C2F6BEB47}">
      <dgm:prSet/>
      <dgm:spPr>
        <a:ln>
          <a:solidFill>
            <a:schemeClr val="tx1">
              <a:lumMod val="85000"/>
              <a:lumOff val="15000"/>
            </a:schemeClr>
          </a:solidFill>
        </a:ln>
      </dgm:spPr>
      <dgm:t>
        <a:bodyPr/>
        <a:lstStyle/>
        <a:p>
          <a:r>
            <a:rPr lang="en-US" b="1" dirty="0" smtClean="0">
              <a:solidFill>
                <a:schemeClr val="tx1"/>
              </a:solidFill>
            </a:rPr>
            <a:t>Standards of Apps and sys</a:t>
          </a:r>
        </a:p>
        <a:p>
          <a:r>
            <a:rPr lang="en-US" b="1" dirty="0" smtClean="0">
              <a:solidFill>
                <a:schemeClr val="tx1"/>
              </a:solidFill>
            </a:rPr>
            <a:t>4 Staff</a:t>
          </a:r>
          <a:endParaRPr lang="en-US" b="1" dirty="0">
            <a:solidFill>
              <a:schemeClr val="tx1"/>
            </a:solidFill>
          </a:endParaRPr>
        </a:p>
      </dgm:t>
    </dgm:pt>
    <dgm:pt modelId="{CCDF1D8E-5BDD-429C-BBC6-7535429D2577}" type="parTrans" cxnId="{216F8D08-092C-4317-A31D-8773E24CE5DD}">
      <dgm:prSet/>
      <dgm:spPr/>
      <dgm:t>
        <a:bodyPr/>
        <a:lstStyle/>
        <a:p>
          <a:endParaRPr lang="en-US"/>
        </a:p>
      </dgm:t>
    </dgm:pt>
    <dgm:pt modelId="{02B26145-62F7-42E7-A639-FC20A98D3B78}" type="sibTrans" cxnId="{216F8D08-092C-4317-A31D-8773E24CE5DD}">
      <dgm:prSet/>
      <dgm:spPr/>
      <dgm:t>
        <a:bodyPr/>
        <a:lstStyle/>
        <a:p>
          <a:endParaRPr lang="en-US"/>
        </a:p>
      </dgm:t>
    </dgm:pt>
    <dgm:pt modelId="{5EE3C6B0-89BB-4EA4-A2DF-304A2B8EE139}">
      <dgm:prSet/>
      <dgm:spPr/>
      <dgm:t>
        <a:bodyPr/>
        <a:lstStyle/>
        <a:p>
          <a:r>
            <a:rPr lang="en-US" dirty="0" smtClean="0"/>
            <a:t>Technical consultation </a:t>
          </a:r>
          <a:endParaRPr lang="en-US" dirty="0"/>
        </a:p>
      </dgm:t>
    </dgm:pt>
    <dgm:pt modelId="{5D04DD67-9478-441D-BF16-9CACEF68BD2D}" type="parTrans" cxnId="{710386AE-9137-4ACD-A248-902A55EB0B26}">
      <dgm:prSet/>
      <dgm:spPr/>
      <dgm:t>
        <a:bodyPr/>
        <a:lstStyle/>
        <a:p>
          <a:endParaRPr lang="en-US"/>
        </a:p>
      </dgm:t>
    </dgm:pt>
    <dgm:pt modelId="{1484380A-7270-42D9-A25F-F6C34B81571E}" type="sibTrans" cxnId="{710386AE-9137-4ACD-A248-902A55EB0B26}">
      <dgm:prSet/>
      <dgm:spPr/>
      <dgm:t>
        <a:bodyPr/>
        <a:lstStyle/>
        <a:p>
          <a:endParaRPr lang="en-US"/>
        </a:p>
      </dgm:t>
    </dgm:pt>
    <dgm:pt modelId="{7858DC30-585E-45CD-B848-15A86BD5F2F3}">
      <dgm:prSet/>
      <dgm:spPr/>
      <dgm:t>
        <a:bodyPr/>
        <a:lstStyle/>
        <a:p>
          <a:r>
            <a:rPr lang="en-US" dirty="0" smtClean="0"/>
            <a:t>Sharing Information Systems</a:t>
          </a:r>
          <a:endParaRPr lang="en-US" dirty="0"/>
        </a:p>
      </dgm:t>
    </dgm:pt>
    <dgm:pt modelId="{B0A299E9-AA7A-44B3-AEC3-41190354D87B}" type="parTrans" cxnId="{DBE1F367-AB9D-422A-9491-287B819A87B7}">
      <dgm:prSet/>
      <dgm:spPr/>
      <dgm:t>
        <a:bodyPr/>
        <a:lstStyle/>
        <a:p>
          <a:endParaRPr lang="en-US"/>
        </a:p>
      </dgm:t>
    </dgm:pt>
    <dgm:pt modelId="{205D19CE-7B31-4C6E-AF29-4ED5FE49859E}" type="sibTrans" cxnId="{DBE1F367-AB9D-422A-9491-287B819A87B7}">
      <dgm:prSet/>
      <dgm:spPr/>
      <dgm:t>
        <a:bodyPr/>
        <a:lstStyle/>
        <a:p>
          <a:endParaRPr lang="en-US"/>
        </a:p>
      </dgm:t>
    </dgm:pt>
    <dgm:pt modelId="{B7987D5E-B01F-4C08-A918-BF62A75D9F21}">
      <dgm:prSet/>
      <dgm:spPr/>
      <dgm:t>
        <a:bodyPr/>
        <a:lstStyle/>
        <a:p>
          <a:r>
            <a:rPr lang="en-US" dirty="0" smtClean="0"/>
            <a:t>Software Evaluation</a:t>
          </a:r>
          <a:endParaRPr lang="en-US" dirty="0"/>
        </a:p>
      </dgm:t>
    </dgm:pt>
    <dgm:pt modelId="{1C1CBC1B-F298-4F8F-8C1B-C0DA147FD147}" type="parTrans" cxnId="{6BFDE984-1EF8-48B6-A722-502179E60DE0}">
      <dgm:prSet/>
      <dgm:spPr/>
      <dgm:t>
        <a:bodyPr/>
        <a:lstStyle/>
        <a:p>
          <a:endParaRPr lang="en-US"/>
        </a:p>
      </dgm:t>
    </dgm:pt>
    <dgm:pt modelId="{B61DE04A-A441-4B6F-B1C6-8D76C925C7EC}" type="sibTrans" cxnId="{6BFDE984-1EF8-48B6-A722-502179E60DE0}">
      <dgm:prSet/>
      <dgm:spPr/>
      <dgm:t>
        <a:bodyPr/>
        <a:lstStyle/>
        <a:p>
          <a:endParaRPr lang="en-US"/>
        </a:p>
      </dgm:t>
    </dgm:pt>
    <dgm:pt modelId="{331E1523-1D94-4AEE-A280-5D64B72F3F5B}" type="pres">
      <dgm:prSet presAssocID="{CCA4712B-8D76-464D-B5F5-E9B7AE0762B3}" presName="hierChild1" presStyleCnt="0">
        <dgm:presLayoutVars>
          <dgm:chPref val="1"/>
          <dgm:dir/>
          <dgm:animOne val="branch"/>
          <dgm:animLvl val="lvl"/>
          <dgm:resizeHandles/>
        </dgm:presLayoutVars>
      </dgm:prSet>
      <dgm:spPr/>
      <dgm:t>
        <a:bodyPr/>
        <a:lstStyle/>
        <a:p>
          <a:endParaRPr lang="en-US"/>
        </a:p>
      </dgm:t>
    </dgm:pt>
    <dgm:pt modelId="{FE0F003F-E481-481B-8D60-F1C504CAC193}" type="pres">
      <dgm:prSet presAssocID="{018B13DD-99BE-4FBB-8349-160A5867AA46}" presName="hierRoot1" presStyleCnt="0"/>
      <dgm:spPr/>
    </dgm:pt>
    <dgm:pt modelId="{4560738B-7A84-4D25-A9AA-D0705C62D139}" type="pres">
      <dgm:prSet presAssocID="{018B13DD-99BE-4FBB-8349-160A5867AA46}" presName="composite" presStyleCnt="0"/>
      <dgm:spPr/>
    </dgm:pt>
    <dgm:pt modelId="{B45F6399-493E-4489-884C-E240E73207BC}" type="pres">
      <dgm:prSet presAssocID="{018B13DD-99BE-4FBB-8349-160A5867AA46}" presName="background" presStyleLbl="node0" presStyleIdx="0" presStyleCnt="1"/>
      <dgm:spPr/>
    </dgm:pt>
    <dgm:pt modelId="{23A28AA9-5EAF-4351-8649-7E0F57983F50}" type="pres">
      <dgm:prSet presAssocID="{018B13DD-99BE-4FBB-8349-160A5867AA46}" presName="text" presStyleLbl="fgAcc0" presStyleIdx="0" presStyleCnt="1">
        <dgm:presLayoutVars>
          <dgm:chPref val="3"/>
        </dgm:presLayoutVars>
      </dgm:prSet>
      <dgm:spPr/>
      <dgm:t>
        <a:bodyPr/>
        <a:lstStyle/>
        <a:p>
          <a:endParaRPr lang="en-US"/>
        </a:p>
      </dgm:t>
    </dgm:pt>
    <dgm:pt modelId="{0A32EA36-147C-4334-B347-E3AB9C114A32}" type="pres">
      <dgm:prSet presAssocID="{018B13DD-99BE-4FBB-8349-160A5867AA46}" presName="hierChild2" presStyleCnt="0"/>
      <dgm:spPr/>
    </dgm:pt>
    <dgm:pt modelId="{6AB77FA0-634E-4FB5-B0A5-3ECF95923265}" type="pres">
      <dgm:prSet presAssocID="{BFB6C153-0B86-4F20-9242-60AC6CCAE6D0}" presName="Name10" presStyleLbl="parChTrans1D2" presStyleIdx="0" presStyleCnt="4"/>
      <dgm:spPr/>
      <dgm:t>
        <a:bodyPr/>
        <a:lstStyle/>
        <a:p>
          <a:endParaRPr lang="en-US"/>
        </a:p>
      </dgm:t>
    </dgm:pt>
    <dgm:pt modelId="{00DEB6BE-FC71-4440-AD61-93ECAE6DE387}" type="pres">
      <dgm:prSet presAssocID="{2D9D9C61-AD84-4E13-9A5D-9CB5DD364BD0}" presName="hierRoot2" presStyleCnt="0"/>
      <dgm:spPr/>
    </dgm:pt>
    <dgm:pt modelId="{EB85AE46-CE0E-469D-9D5A-D1DDF0DBDEC1}" type="pres">
      <dgm:prSet presAssocID="{2D9D9C61-AD84-4E13-9A5D-9CB5DD364BD0}" presName="composite2" presStyleCnt="0"/>
      <dgm:spPr/>
    </dgm:pt>
    <dgm:pt modelId="{BE0815C8-80D2-489A-9D41-4198A26BF8EC}" type="pres">
      <dgm:prSet presAssocID="{2D9D9C61-AD84-4E13-9A5D-9CB5DD364BD0}" presName="background2" presStyleLbl="node2" presStyleIdx="0" presStyleCnt="4"/>
      <dgm:spPr/>
    </dgm:pt>
    <dgm:pt modelId="{E4641587-382A-4EF6-B76E-D472D3C97577}" type="pres">
      <dgm:prSet presAssocID="{2D9D9C61-AD84-4E13-9A5D-9CB5DD364BD0}" presName="text2" presStyleLbl="fgAcc2" presStyleIdx="0" presStyleCnt="4">
        <dgm:presLayoutVars>
          <dgm:chPref val="3"/>
        </dgm:presLayoutVars>
      </dgm:prSet>
      <dgm:spPr/>
      <dgm:t>
        <a:bodyPr/>
        <a:lstStyle/>
        <a:p>
          <a:endParaRPr lang="en-US"/>
        </a:p>
      </dgm:t>
    </dgm:pt>
    <dgm:pt modelId="{68CE6263-49FF-4846-B89B-6EAF085AE194}" type="pres">
      <dgm:prSet presAssocID="{2D9D9C61-AD84-4E13-9A5D-9CB5DD364BD0}" presName="hierChild3" presStyleCnt="0"/>
      <dgm:spPr/>
    </dgm:pt>
    <dgm:pt modelId="{FA61731F-A63A-4D18-987E-2A972268CCFF}" type="pres">
      <dgm:prSet presAssocID="{5394284B-C5D3-46CB-84A3-F43BA1EEFCA6}" presName="Name10" presStyleLbl="parChTrans1D2" presStyleIdx="1" presStyleCnt="4"/>
      <dgm:spPr/>
      <dgm:t>
        <a:bodyPr/>
        <a:lstStyle/>
        <a:p>
          <a:endParaRPr lang="en-US"/>
        </a:p>
      </dgm:t>
    </dgm:pt>
    <dgm:pt modelId="{111CAADD-C135-4B1F-BB88-FBFE3225C005}" type="pres">
      <dgm:prSet presAssocID="{D2C1881D-EB36-4090-9128-42BC775BB39B}" presName="hierRoot2" presStyleCnt="0"/>
      <dgm:spPr/>
    </dgm:pt>
    <dgm:pt modelId="{0B7DBFC8-D55B-40C2-8AC1-66A90C52B185}" type="pres">
      <dgm:prSet presAssocID="{D2C1881D-EB36-4090-9128-42BC775BB39B}" presName="composite2" presStyleCnt="0"/>
      <dgm:spPr/>
    </dgm:pt>
    <dgm:pt modelId="{23C19582-0660-48C6-B887-7CF9E372C9BF}" type="pres">
      <dgm:prSet presAssocID="{D2C1881D-EB36-4090-9128-42BC775BB39B}" presName="background2" presStyleLbl="node2" presStyleIdx="1" presStyleCnt="4"/>
      <dgm:spPr/>
    </dgm:pt>
    <dgm:pt modelId="{D2FE85C6-DB53-4217-B460-49FE30ED235C}" type="pres">
      <dgm:prSet presAssocID="{D2C1881D-EB36-4090-9128-42BC775BB39B}" presName="text2" presStyleLbl="fgAcc2" presStyleIdx="1" presStyleCnt="4">
        <dgm:presLayoutVars>
          <dgm:chPref val="3"/>
        </dgm:presLayoutVars>
      </dgm:prSet>
      <dgm:spPr/>
      <dgm:t>
        <a:bodyPr/>
        <a:lstStyle/>
        <a:p>
          <a:endParaRPr lang="en-US"/>
        </a:p>
      </dgm:t>
    </dgm:pt>
    <dgm:pt modelId="{913E8B36-C780-4D96-94F9-B6A86AEEA34A}" type="pres">
      <dgm:prSet presAssocID="{D2C1881D-EB36-4090-9128-42BC775BB39B}" presName="hierChild3" presStyleCnt="0"/>
      <dgm:spPr/>
    </dgm:pt>
    <dgm:pt modelId="{7CBA7704-D8F8-4A8E-AD98-94A67AD9E2E6}" type="pres">
      <dgm:prSet presAssocID="{0D5AFA84-EA94-4482-AAAA-C2FF99FF872F}" presName="Name17" presStyleLbl="parChTrans1D3" presStyleIdx="0" presStyleCnt="3"/>
      <dgm:spPr/>
      <dgm:t>
        <a:bodyPr/>
        <a:lstStyle/>
        <a:p>
          <a:endParaRPr lang="en-US"/>
        </a:p>
      </dgm:t>
    </dgm:pt>
    <dgm:pt modelId="{F0A85861-579D-4E79-ADF1-9D6D4B662850}" type="pres">
      <dgm:prSet presAssocID="{133D54DF-B731-4ED2-A0F0-751DC2EB9366}" presName="hierRoot3" presStyleCnt="0"/>
      <dgm:spPr/>
    </dgm:pt>
    <dgm:pt modelId="{2CC02B27-DCF4-4D81-AD2A-DC7992407FC5}" type="pres">
      <dgm:prSet presAssocID="{133D54DF-B731-4ED2-A0F0-751DC2EB9366}" presName="composite3" presStyleCnt="0"/>
      <dgm:spPr/>
    </dgm:pt>
    <dgm:pt modelId="{CBF763FF-BBAB-4EBE-B89A-7C300A0BCA39}" type="pres">
      <dgm:prSet presAssocID="{133D54DF-B731-4ED2-A0F0-751DC2EB9366}" presName="background3" presStyleLbl="node3" presStyleIdx="0" presStyleCnt="3"/>
      <dgm:spPr/>
    </dgm:pt>
    <dgm:pt modelId="{8BCFBA16-5EA2-4357-B731-F27A5FE8B62F}" type="pres">
      <dgm:prSet presAssocID="{133D54DF-B731-4ED2-A0F0-751DC2EB9366}" presName="text3" presStyleLbl="fgAcc3" presStyleIdx="0" presStyleCnt="3" custLinFactX="-1409" custLinFactNeighborX="-100000" custLinFactNeighborY="1524">
        <dgm:presLayoutVars>
          <dgm:chPref val="3"/>
        </dgm:presLayoutVars>
      </dgm:prSet>
      <dgm:spPr/>
      <dgm:t>
        <a:bodyPr/>
        <a:lstStyle/>
        <a:p>
          <a:endParaRPr lang="en-US"/>
        </a:p>
      </dgm:t>
    </dgm:pt>
    <dgm:pt modelId="{5DB4C7AD-0322-45C3-953C-FD0B2FC2612D}" type="pres">
      <dgm:prSet presAssocID="{133D54DF-B731-4ED2-A0F0-751DC2EB9366}" presName="hierChild4" presStyleCnt="0"/>
      <dgm:spPr/>
    </dgm:pt>
    <dgm:pt modelId="{251BC5EA-1304-406B-8802-319783B3AB5F}" type="pres">
      <dgm:prSet presAssocID="{FAF73CAC-D378-4F94-A4CB-A41049702C22}" presName="Name17" presStyleLbl="parChTrans1D3" presStyleIdx="1" presStyleCnt="3"/>
      <dgm:spPr/>
      <dgm:t>
        <a:bodyPr/>
        <a:lstStyle/>
        <a:p>
          <a:endParaRPr lang="en-US"/>
        </a:p>
      </dgm:t>
    </dgm:pt>
    <dgm:pt modelId="{F471643D-D54D-47CC-9A15-62F85C227803}" type="pres">
      <dgm:prSet presAssocID="{5986D1F9-5752-4415-933A-3B20C6B0BDE8}" presName="hierRoot3" presStyleCnt="0"/>
      <dgm:spPr/>
    </dgm:pt>
    <dgm:pt modelId="{1EC51D8F-FA8F-4091-AC61-E9EAD6F2A14C}" type="pres">
      <dgm:prSet presAssocID="{5986D1F9-5752-4415-933A-3B20C6B0BDE8}" presName="composite3" presStyleCnt="0"/>
      <dgm:spPr/>
    </dgm:pt>
    <dgm:pt modelId="{25A03135-525C-45F1-B612-4E68BF4FF238}" type="pres">
      <dgm:prSet presAssocID="{5986D1F9-5752-4415-933A-3B20C6B0BDE8}" presName="background3" presStyleLbl="node3" presStyleIdx="1" presStyleCnt="3"/>
      <dgm:spPr/>
    </dgm:pt>
    <dgm:pt modelId="{C04DD71A-96B4-40D8-85B1-45E46088008E}" type="pres">
      <dgm:prSet presAssocID="{5986D1F9-5752-4415-933A-3B20C6B0BDE8}" presName="text3" presStyleLbl="fgAcc3" presStyleIdx="1" presStyleCnt="3" custLinFactNeighborX="-450" custLinFactNeighborY="13605">
        <dgm:presLayoutVars>
          <dgm:chPref val="3"/>
        </dgm:presLayoutVars>
      </dgm:prSet>
      <dgm:spPr/>
      <dgm:t>
        <a:bodyPr/>
        <a:lstStyle/>
        <a:p>
          <a:endParaRPr lang="en-US"/>
        </a:p>
      </dgm:t>
    </dgm:pt>
    <dgm:pt modelId="{9769A2AB-D3B2-4582-8456-EC897C1006D2}" type="pres">
      <dgm:prSet presAssocID="{5986D1F9-5752-4415-933A-3B20C6B0BDE8}" presName="hierChild4" presStyleCnt="0"/>
      <dgm:spPr/>
    </dgm:pt>
    <dgm:pt modelId="{D1701DAA-8D58-4013-82A4-E37CEF8002E2}" type="pres">
      <dgm:prSet presAssocID="{5D04DD67-9478-441D-BF16-9CACEF68BD2D}" presName="Name23" presStyleLbl="parChTrans1D4" presStyleIdx="0" presStyleCnt="4"/>
      <dgm:spPr/>
      <dgm:t>
        <a:bodyPr/>
        <a:lstStyle/>
        <a:p>
          <a:endParaRPr lang="en-US"/>
        </a:p>
      </dgm:t>
    </dgm:pt>
    <dgm:pt modelId="{87B233FB-E323-41D4-A007-67F59DBD9276}" type="pres">
      <dgm:prSet presAssocID="{5EE3C6B0-89BB-4EA4-A2DF-304A2B8EE139}" presName="hierRoot4" presStyleCnt="0"/>
      <dgm:spPr/>
    </dgm:pt>
    <dgm:pt modelId="{3DD2B5B5-1843-4B5D-84B1-69A0D85400B0}" type="pres">
      <dgm:prSet presAssocID="{5EE3C6B0-89BB-4EA4-A2DF-304A2B8EE139}" presName="composite4" presStyleCnt="0"/>
      <dgm:spPr/>
    </dgm:pt>
    <dgm:pt modelId="{B634F5F6-370D-4DB5-A381-EAB59B100D10}" type="pres">
      <dgm:prSet presAssocID="{5EE3C6B0-89BB-4EA4-A2DF-304A2B8EE139}" presName="background4" presStyleLbl="node4" presStyleIdx="0" presStyleCnt="4"/>
      <dgm:spPr/>
    </dgm:pt>
    <dgm:pt modelId="{9C9A7433-7F40-4C02-AFEE-931DEA68A281}" type="pres">
      <dgm:prSet presAssocID="{5EE3C6B0-89BB-4EA4-A2DF-304A2B8EE139}" presName="text4" presStyleLbl="fgAcc4" presStyleIdx="0" presStyleCnt="4" custScaleX="98493" custLinFactNeighborX="-19042" custLinFactNeighborY="42693">
        <dgm:presLayoutVars>
          <dgm:chPref val="3"/>
        </dgm:presLayoutVars>
      </dgm:prSet>
      <dgm:spPr/>
      <dgm:t>
        <a:bodyPr/>
        <a:lstStyle/>
        <a:p>
          <a:endParaRPr lang="en-US"/>
        </a:p>
      </dgm:t>
    </dgm:pt>
    <dgm:pt modelId="{BA20A957-766A-4BA0-B032-E9444331C134}" type="pres">
      <dgm:prSet presAssocID="{5EE3C6B0-89BB-4EA4-A2DF-304A2B8EE139}" presName="hierChild5" presStyleCnt="0"/>
      <dgm:spPr/>
    </dgm:pt>
    <dgm:pt modelId="{A0A97289-EEC1-4338-80F8-571B09C72DCB}" type="pres">
      <dgm:prSet presAssocID="{CCDF1D8E-5BDD-429C-BBC6-7535429D2577}" presName="Name23" presStyleLbl="parChTrans1D4" presStyleIdx="1" presStyleCnt="4"/>
      <dgm:spPr/>
      <dgm:t>
        <a:bodyPr/>
        <a:lstStyle/>
        <a:p>
          <a:endParaRPr lang="en-US"/>
        </a:p>
      </dgm:t>
    </dgm:pt>
    <dgm:pt modelId="{6FBA7D8B-B601-4321-89A0-BA0D228727E1}" type="pres">
      <dgm:prSet presAssocID="{288B9958-D8A1-4F26-830F-325C2F6BEB47}" presName="hierRoot4" presStyleCnt="0"/>
      <dgm:spPr/>
    </dgm:pt>
    <dgm:pt modelId="{6A5CF724-A87C-46AF-A4F9-0585458B3DC8}" type="pres">
      <dgm:prSet presAssocID="{288B9958-D8A1-4F26-830F-325C2F6BEB47}" presName="composite4" presStyleCnt="0"/>
      <dgm:spPr/>
    </dgm:pt>
    <dgm:pt modelId="{06ADBDD5-AA50-4A4F-BEA0-51E46D94B43A}" type="pres">
      <dgm:prSet presAssocID="{288B9958-D8A1-4F26-830F-325C2F6BEB47}" presName="background4" presStyleLbl="node4" presStyleIdx="1" presStyleCnt="4"/>
      <dgm:spPr>
        <a:solidFill>
          <a:schemeClr val="tx1"/>
        </a:solidFill>
      </dgm:spPr>
    </dgm:pt>
    <dgm:pt modelId="{D0C50572-A907-46BA-BA42-5CBB22F7C0EA}" type="pres">
      <dgm:prSet presAssocID="{288B9958-D8A1-4F26-830F-325C2F6BEB47}" presName="text4" presStyleLbl="fgAcc4" presStyleIdx="1" presStyleCnt="4" custLinFactNeighborX="4616" custLinFactNeighborY="42693">
        <dgm:presLayoutVars>
          <dgm:chPref val="3"/>
        </dgm:presLayoutVars>
      </dgm:prSet>
      <dgm:spPr/>
      <dgm:t>
        <a:bodyPr/>
        <a:lstStyle/>
        <a:p>
          <a:endParaRPr lang="en-US"/>
        </a:p>
      </dgm:t>
    </dgm:pt>
    <dgm:pt modelId="{2B01B8F6-F46A-425C-9FA5-78492744B6E2}" type="pres">
      <dgm:prSet presAssocID="{288B9958-D8A1-4F26-830F-325C2F6BEB47}" presName="hierChild5" presStyleCnt="0"/>
      <dgm:spPr/>
    </dgm:pt>
    <dgm:pt modelId="{B44B05C5-96FE-4E49-B66D-458B7E91D990}" type="pres">
      <dgm:prSet presAssocID="{B0A299E9-AA7A-44B3-AEC3-41190354D87B}" presName="Name23" presStyleLbl="parChTrans1D4" presStyleIdx="2" presStyleCnt="4"/>
      <dgm:spPr/>
      <dgm:t>
        <a:bodyPr/>
        <a:lstStyle/>
        <a:p>
          <a:endParaRPr lang="en-US"/>
        </a:p>
      </dgm:t>
    </dgm:pt>
    <dgm:pt modelId="{FA96EF0A-48E4-4848-B2F3-3BF2ABBCC6EC}" type="pres">
      <dgm:prSet presAssocID="{7858DC30-585E-45CD-B848-15A86BD5F2F3}" presName="hierRoot4" presStyleCnt="0"/>
      <dgm:spPr/>
    </dgm:pt>
    <dgm:pt modelId="{B6373D9D-9AF7-45A8-976F-5A605DB9A217}" type="pres">
      <dgm:prSet presAssocID="{7858DC30-585E-45CD-B848-15A86BD5F2F3}" presName="composite4" presStyleCnt="0"/>
      <dgm:spPr/>
    </dgm:pt>
    <dgm:pt modelId="{A165DEFB-0D06-48B6-B26C-07F5C05F9BC4}" type="pres">
      <dgm:prSet presAssocID="{7858DC30-585E-45CD-B848-15A86BD5F2F3}" presName="background4" presStyleLbl="node4" presStyleIdx="2" presStyleCnt="4"/>
      <dgm:spPr/>
    </dgm:pt>
    <dgm:pt modelId="{832C4540-673B-4859-B4F0-52A855B87481}" type="pres">
      <dgm:prSet presAssocID="{7858DC30-585E-45CD-B848-15A86BD5F2F3}" presName="text4" presStyleLbl="fgAcc4" presStyleIdx="2" presStyleCnt="4" custLinFactNeighborX="18575" custLinFactNeighborY="52586">
        <dgm:presLayoutVars>
          <dgm:chPref val="3"/>
        </dgm:presLayoutVars>
      </dgm:prSet>
      <dgm:spPr/>
      <dgm:t>
        <a:bodyPr/>
        <a:lstStyle/>
        <a:p>
          <a:endParaRPr lang="en-US"/>
        </a:p>
      </dgm:t>
    </dgm:pt>
    <dgm:pt modelId="{14D57141-D2C5-4F78-93C0-0C89DE812FB7}" type="pres">
      <dgm:prSet presAssocID="{7858DC30-585E-45CD-B848-15A86BD5F2F3}" presName="hierChild5" presStyleCnt="0"/>
      <dgm:spPr/>
    </dgm:pt>
    <dgm:pt modelId="{0D940649-AD00-4970-9353-F92DF6262F45}" type="pres">
      <dgm:prSet presAssocID="{1C1CBC1B-F298-4F8F-8C1B-C0DA147FD147}" presName="Name23" presStyleLbl="parChTrans1D4" presStyleIdx="3" presStyleCnt="4"/>
      <dgm:spPr/>
      <dgm:t>
        <a:bodyPr/>
        <a:lstStyle/>
        <a:p>
          <a:endParaRPr lang="en-US"/>
        </a:p>
      </dgm:t>
    </dgm:pt>
    <dgm:pt modelId="{5918A2A2-9892-4DA3-AA98-4D933876D09F}" type="pres">
      <dgm:prSet presAssocID="{B7987D5E-B01F-4C08-A918-BF62A75D9F21}" presName="hierRoot4" presStyleCnt="0"/>
      <dgm:spPr/>
    </dgm:pt>
    <dgm:pt modelId="{D8A5C61C-2942-4A05-9B87-692A271ADA57}" type="pres">
      <dgm:prSet presAssocID="{B7987D5E-B01F-4C08-A918-BF62A75D9F21}" presName="composite4" presStyleCnt="0"/>
      <dgm:spPr/>
    </dgm:pt>
    <dgm:pt modelId="{32E5D6CA-19F8-4A18-A7A8-7A07FA486047}" type="pres">
      <dgm:prSet presAssocID="{B7987D5E-B01F-4C08-A918-BF62A75D9F21}" presName="background4" presStyleLbl="node4" presStyleIdx="3" presStyleCnt="4"/>
      <dgm:spPr/>
    </dgm:pt>
    <dgm:pt modelId="{A260C3C8-5799-4DE3-8DBF-202E33AF5AB6}" type="pres">
      <dgm:prSet presAssocID="{B7987D5E-B01F-4C08-A918-BF62A75D9F21}" presName="text4" presStyleLbl="fgAcc4" presStyleIdx="3" presStyleCnt="4" custLinFactNeighborX="40826" custLinFactNeighborY="26044">
        <dgm:presLayoutVars>
          <dgm:chPref val="3"/>
        </dgm:presLayoutVars>
      </dgm:prSet>
      <dgm:spPr/>
      <dgm:t>
        <a:bodyPr/>
        <a:lstStyle/>
        <a:p>
          <a:endParaRPr lang="en-US"/>
        </a:p>
      </dgm:t>
    </dgm:pt>
    <dgm:pt modelId="{8009A32C-B837-4D87-A3E3-FDCC6590EFEA}" type="pres">
      <dgm:prSet presAssocID="{B7987D5E-B01F-4C08-A918-BF62A75D9F21}" presName="hierChild5" presStyleCnt="0"/>
      <dgm:spPr/>
    </dgm:pt>
    <dgm:pt modelId="{CD344442-6327-43D1-8F30-2F26E331F7C1}" type="pres">
      <dgm:prSet presAssocID="{F3F1B6DB-442B-48AC-91E0-85B8149B8D7B}" presName="Name17" presStyleLbl="parChTrans1D3" presStyleIdx="2" presStyleCnt="3"/>
      <dgm:spPr/>
      <dgm:t>
        <a:bodyPr/>
        <a:lstStyle/>
        <a:p>
          <a:endParaRPr lang="en-US"/>
        </a:p>
      </dgm:t>
    </dgm:pt>
    <dgm:pt modelId="{2D7721E0-7174-431B-A136-169EEAC36E95}" type="pres">
      <dgm:prSet presAssocID="{EAF62D20-F7C3-4D1E-A087-363BBE29A0CD}" presName="hierRoot3" presStyleCnt="0"/>
      <dgm:spPr/>
    </dgm:pt>
    <dgm:pt modelId="{CEB2455B-F54B-4FB2-B669-7600ACDF81D7}" type="pres">
      <dgm:prSet presAssocID="{EAF62D20-F7C3-4D1E-A087-363BBE29A0CD}" presName="composite3" presStyleCnt="0"/>
      <dgm:spPr/>
    </dgm:pt>
    <dgm:pt modelId="{5E90CECB-8E91-4374-BF0F-773A595CE99E}" type="pres">
      <dgm:prSet presAssocID="{EAF62D20-F7C3-4D1E-A087-363BBE29A0CD}" presName="background3" presStyleLbl="node3" presStyleIdx="2" presStyleCnt="3"/>
      <dgm:spPr/>
    </dgm:pt>
    <dgm:pt modelId="{C3B1B09C-7513-4623-AA88-CE18D0337071}" type="pres">
      <dgm:prSet presAssocID="{EAF62D20-F7C3-4D1E-A087-363BBE29A0CD}" presName="text3" presStyleLbl="fgAcc3" presStyleIdx="2" presStyleCnt="3" custLinFactX="100000" custLinFactNeighborX="103513" custLinFactNeighborY="1016">
        <dgm:presLayoutVars>
          <dgm:chPref val="3"/>
        </dgm:presLayoutVars>
      </dgm:prSet>
      <dgm:spPr/>
      <dgm:t>
        <a:bodyPr/>
        <a:lstStyle/>
        <a:p>
          <a:endParaRPr lang="en-US"/>
        </a:p>
      </dgm:t>
    </dgm:pt>
    <dgm:pt modelId="{A17D5FEC-7849-451F-80E4-4440AB383671}" type="pres">
      <dgm:prSet presAssocID="{EAF62D20-F7C3-4D1E-A087-363BBE29A0CD}" presName="hierChild4" presStyleCnt="0"/>
      <dgm:spPr/>
    </dgm:pt>
    <dgm:pt modelId="{EAF4F5FF-B90D-4822-9DCE-CA8375537C2C}" type="pres">
      <dgm:prSet presAssocID="{68DCDD65-3424-49B7-A85B-42853082E604}" presName="Name10" presStyleLbl="parChTrans1D2" presStyleIdx="2" presStyleCnt="4"/>
      <dgm:spPr/>
      <dgm:t>
        <a:bodyPr/>
        <a:lstStyle/>
        <a:p>
          <a:endParaRPr lang="en-US"/>
        </a:p>
      </dgm:t>
    </dgm:pt>
    <dgm:pt modelId="{BF8AB2D5-0D92-48B1-BA0E-1D8835336004}" type="pres">
      <dgm:prSet presAssocID="{F3C56F96-7D4C-4ADC-839B-B583E52D35D8}" presName="hierRoot2" presStyleCnt="0"/>
      <dgm:spPr/>
    </dgm:pt>
    <dgm:pt modelId="{C4F8EFCB-735A-473F-BF0F-A0D1D99D9881}" type="pres">
      <dgm:prSet presAssocID="{F3C56F96-7D4C-4ADC-839B-B583E52D35D8}" presName="composite2" presStyleCnt="0"/>
      <dgm:spPr/>
    </dgm:pt>
    <dgm:pt modelId="{25F7F640-C261-4833-B855-D6C4D181F388}" type="pres">
      <dgm:prSet presAssocID="{F3C56F96-7D4C-4ADC-839B-B583E52D35D8}" presName="background2" presStyleLbl="node2" presStyleIdx="2" presStyleCnt="4"/>
      <dgm:spPr/>
    </dgm:pt>
    <dgm:pt modelId="{145CC391-5AF0-4F28-8BEE-D820CA1F0E42}" type="pres">
      <dgm:prSet presAssocID="{F3C56F96-7D4C-4ADC-839B-B583E52D35D8}" presName="text2" presStyleLbl="fgAcc2" presStyleIdx="2" presStyleCnt="4">
        <dgm:presLayoutVars>
          <dgm:chPref val="3"/>
        </dgm:presLayoutVars>
      </dgm:prSet>
      <dgm:spPr/>
      <dgm:t>
        <a:bodyPr/>
        <a:lstStyle/>
        <a:p>
          <a:endParaRPr lang="en-US"/>
        </a:p>
      </dgm:t>
    </dgm:pt>
    <dgm:pt modelId="{477740D8-7531-45B9-B9E2-4D0B30E9DE4E}" type="pres">
      <dgm:prSet presAssocID="{F3C56F96-7D4C-4ADC-839B-B583E52D35D8}" presName="hierChild3" presStyleCnt="0"/>
      <dgm:spPr/>
    </dgm:pt>
    <dgm:pt modelId="{C6257F8D-BB78-48EE-93A2-2E813893A616}" type="pres">
      <dgm:prSet presAssocID="{43A2E836-4495-414A-8492-22306AF33098}" presName="Name10" presStyleLbl="parChTrans1D2" presStyleIdx="3" presStyleCnt="4"/>
      <dgm:spPr/>
      <dgm:t>
        <a:bodyPr/>
        <a:lstStyle/>
        <a:p>
          <a:endParaRPr lang="en-US"/>
        </a:p>
      </dgm:t>
    </dgm:pt>
    <dgm:pt modelId="{532CD6BA-E935-4EAE-9980-6399854E4513}" type="pres">
      <dgm:prSet presAssocID="{93680AD7-D992-461C-84C3-247D7108D700}" presName="hierRoot2" presStyleCnt="0"/>
      <dgm:spPr/>
    </dgm:pt>
    <dgm:pt modelId="{8F32401A-943E-4628-881F-C73219CCEB67}" type="pres">
      <dgm:prSet presAssocID="{93680AD7-D992-461C-84C3-247D7108D700}" presName="composite2" presStyleCnt="0"/>
      <dgm:spPr/>
    </dgm:pt>
    <dgm:pt modelId="{A282739B-E0DB-4025-A1E7-EBC24CC44694}" type="pres">
      <dgm:prSet presAssocID="{93680AD7-D992-461C-84C3-247D7108D700}" presName="background2" presStyleLbl="node2" presStyleIdx="3" presStyleCnt="4"/>
      <dgm:spPr/>
    </dgm:pt>
    <dgm:pt modelId="{A09152C4-038E-4117-9851-CE065BD0C503}" type="pres">
      <dgm:prSet presAssocID="{93680AD7-D992-461C-84C3-247D7108D700}" presName="text2" presStyleLbl="fgAcc2" presStyleIdx="3" presStyleCnt="4">
        <dgm:presLayoutVars>
          <dgm:chPref val="3"/>
        </dgm:presLayoutVars>
      </dgm:prSet>
      <dgm:spPr/>
      <dgm:t>
        <a:bodyPr/>
        <a:lstStyle/>
        <a:p>
          <a:endParaRPr lang="en-US"/>
        </a:p>
      </dgm:t>
    </dgm:pt>
    <dgm:pt modelId="{016EABC7-710C-405F-B980-84A4B10AC8F6}" type="pres">
      <dgm:prSet presAssocID="{93680AD7-D992-461C-84C3-247D7108D700}" presName="hierChild3" presStyleCnt="0"/>
      <dgm:spPr/>
    </dgm:pt>
  </dgm:ptLst>
  <dgm:cxnLst>
    <dgm:cxn modelId="{61A9FB31-D33B-4FF9-99F6-252C2361FB59}" srcId="{D2C1881D-EB36-4090-9128-42BC775BB39B}" destId="{EAF62D20-F7C3-4D1E-A087-363BBE29A0CD}" srcOrd="2" destOrd="0" parTransId="{F3F1B6DB-442B-48AC-91E0-85B8149B8D7B}" sibTransId="{53DBE64B-EF54-4F7F-916E-AE21304306D8}"/>
    <dgm:cxn modelId="{5CCB523B-2C2D-46FE-855A-A66FD2B49E3B}" type="presOf" srcId="{2D9D9C61-AD84-4E13-9A5D-9CB5DD364BD0}" destId="{E4641587-382A-4EF6-B76E-D472D3C97577}" srcOrd="0" destOrd="0" presId="urn:microsoft.com/office/officeart/2005/8/layout/hierarchy1"/>
    <dgm:cxn modelId="{6BFDE984-1EF8-48B6-A722-502179E60DE0}" srcId="{5986D1F9-5752-4415-933A-3B20C6B0BDE8}" destId="{B7987D5E-B01F-4C08-A918-BF62A75D9F21}" srcOrd="3" destOrd="0" parTransId="{1C1CBC1B-F298-4F8F-8C1B-C0DA147FD147}" sibTransId="{B61DE04A-A441-4B6F-B1C6-8D76C925C7EC}"/>
    <dgm:cxn modelId="{8B057BB0-89D4-4C63-9373-8193FDBAB2D7}" srcId="{018B13DD-99BE-4FBB-8349-160A5867AA46}" destId="{F3C56F96-7D4C-4ADC-839B-B583E52D35D8}" srcOrd="2" destOrd="0" parTransId="{68DCDD65-3424-49B7-A85B-42853082E604}" sibTransId="{D19F517C-4705-426B-98AB-9D245C7EFEE0}"/>
    <dgm:cxn modelId="{91A2B8CF-B9A2-4C46-A147-EEE7143BF362}" type="presOf" srcId="{F3F1B6DB-442B-48AC-91E0-85B8149B8D7B}" destId="{CD344442-6327-43D1-8F30-2F26E331F7C1}" srcOrd="0" destOrd="0" presId="urn:microsoft.com/office/officeart/2005/8/layout/hierarchy1"/>
    <dgm:cxn modelId="{27B45FDA-27C8-46CD-886E-FD5FB746E545}" srcId="{018B13DD-99BE-4FBB-8349-160A5867AA46}" destId="{93680AD7-D992-461C-84C3-247D7108D700}" srcOrd="3" destOrd="0" parTransId="{43A2E836-4495-414A-8492-22306AF33098}" sibTransId="{5B5D3D77-B235-44B8-B58B-E487667B2177}"/>
    <dgm:cxn modelId="{510E5104-30CF-42A2-991F-B679D25DE246}" type="presOf" srcId="{1C1CBC1B-F298-4F8F-8C1B-C0DA147FD147}" destId="{0D940649-AD00-4970-9353-F92DF6262F45}" srcOrd="0" destOrd="0" presId="urn:microsoft.com/office/officeart/2005/8/layout/hierarchy1"/>
    <dgm:cxn modelId="{DBE1F367-AB9D-422A-9491-287B819A87B7}" srcId="{5986D1F9-5752-4415-933A-3B20C6B0BDE8}" destId="{7858DC30-585E-45CD-B848-15A86BD5F2F3}" srcOrd="2" destOrd="0" parTransId="{B0A299E9-AA7A-44B3-AEC3-41190354D87B}" sibTransId="{205D19CE-7B31-4C6E-AF29-4ED5FE49859E}"/>
    <dgm:cxn modelId="{6FDF8252-CC59-48AD-A78B-6E88071C4C3D}" type="presOf" srcId="{68DCDD65-3424-49B7-A85B-42853082E604}" destId="{EAF4F5FF-B90D-4822-9DCE-CA8375537C2C}" srcOrd="0" destOrd="0" presId="urn:microsoft.com/office/officeart/2005/8/layout/hierarchy1"/>
    <dgm:cxn modelId="{A36EDD44-B922-4B17-A9F9-3CCA5EA5E644}" type="presOf" srcId="{5394284B-C5D3-46CB-84A3-F43BA1EEFCA6}" destId="{FA61731F-A63A-4D18-987E-2A972268CCFF}" srcOrd="0" destOrd="0" presId="urn:microsoft.com/office/officeart/2005/8/layout/hierarchy1"/>
    <dgm:cxn modelId="{EB03DFD3-52F6-495A-B471-D1FE7619E23C}" type="presOf" srcId="{5986D1F9-5752-4415-933A-3B20C6B0BDE8}" destId="{C04DD71A-96B4-40D8-85B1-45E46088008E}" srcOrd="0" destOrd="0" presId="urn:microsoft.com/office/officeart/2005/8/layout/hierarchy1"/>
    <dgm:cxn modelId="{49510E96-4362-4E4F-993B-830E697D52B1}" type="presOf" srcId="{5EE3C6B0-89BB-4EA4-A2DF-304A2B8EE139}" destId="{9C9A7433-7F40-4C02-AFEE-931DEA68A281}" srcOrd="0" destOrd="0" presId="urn:microsoft.com/office/officeart/2005/8/layout/hierarchy1"/>
    <dgm:cxn modelId="{1A52A796-CBA1-43B6-9E60-1DFAC0F11BA2}" srcId="{D2C1881D-EB36-4090-9128-42BC775BB39B}" destId="{5986D1F9-5752-4415-933A-3B20C6B0BDE8}" srcOrd="1" destOrd="0" parTransId="{FAF73CAC-D378-4F94-A4CB-A41049702C22}" sibTransId="{67BD7820-D3DA-4E7E-9F16-7F58F052BA28}"/>
    <dgm:cxn modelId="{1BF56662-5224-4C3A-B184-31E651373821}" srcId="{018B13DD-99BE-4FBB-8349-160A5867AA46}" destId="{2D9D9C61-AD84-4E13-9A5D-9CB5DD364BD0}" srcOrd="0" destOrd="0" parTransId="{BFB6C153-0B86-4F20-9242-60AC6CCAE6D0}" sibTransId="{ED448D78-04E1-4263-AF5F-33148D63FC3E}"/>
    <dgm:cxn modelId="{BD58E80E-A131-4F72-A347-213CFE0FDD59}" srcId="{D2C1881D-EB36-4090-9128-42BC775BB39B}" destId="{133D54DF-B731-4ED2-A0F0-751DC2EB9366}" srcOrd="0" destOrd="0" parTransId="{0D5AFA84-EA94-4482-AAAA-C2FF99FF872F}" sibTransId="{17A0E005-A90E-4425-B345-459CD79F3874}"/>
    <dgm:cxn modelId="{219272CE-F311-4F27-80B8-8E282047088C}" type="presOf" srcId="{018B13DD-99BE-4FBB-8349-160A5867AA46}" destId="{23A28AA9-5EAF-4351-8649-7E0F57983F50}" srcOrd="0" destOrd="0" presId="urn:microsoft.com/office/officeart/2005/8/layout/hierarchy1"/>
    <dgm:cxn modelId="{216F8D08-092C-4317-A31D-8773E24CE5DD}" srcId="{5986D1F9-5752-4415-933A-3B20C6B0BDE8}" destId="{288B9958-D8A1-4F26-830F-325C2F6BEB47}" srcOrd="1" destOrd="0" parTransId="{CCDF1D8E-5BDD-429C-BBC6-7535429D2577}" sibTransId="{02B26145-62F7-42E7-A639-FC20A98D3B78}"/>
    <dgm:cxn modelId="{9FCB542B-4E91-4871-B5D2-37674E5E357B}" type="presOf" srcId="{0D5AFA84-EA94-4482-AAAA-C2FF99FF872F}" destId="{7CBA7704-D8F8-4A8E-AD98-94A67AD9E2E6}" srcOrd="0" destOrd="0" presId="urn:microsoft.com/office/officeart/2005/8/layout/hierarchy1"/>
    <dgm:cxn modelId="{710386AE-9137-4ACD-A248-902A55EB0B26}" srcId="{5986D1F9-5752-4415-933A-3B20C6B0BDE8}" destId="{5EE3C6B0-89BB-4EA4-A2DF-304A2B8EE139}" srcOrd="0" destOrd="0" parTransId="{5D04DD67-9478-441D-BF16-9CACEF68BD2D}" sibTransId="{1484380A-7270-42D9-A25F-F6C34B81571E}"/>
    <dgm:cxn modelId="{F686E671-6A87-4AA9-A160-62C87A1A65F6}" type="presOf" srcId="{EAF62D20-F7C3-4D1E-A087-363BBE29A0CD}" destId="{C3B1B09C-7513-4623-AA88-CE18D0337071}" srcOrd="0" destOrd="0" presId="urn:microsoft.com/office/officeart/2005/8/layout/hierarchy1"/>
    <dgm:cxn modelId="{0C5699CD-AB2B-470E-9563-89C0F598CF0A}" type="presOf" srcId="{93680AD7-D992-461C-84C3-247D7108D700}" destId="{A09152C4-038E-4117-9851-CE065BD0C503}" srcOrd="0" destOrd="0" presId="urn:microsoft.com/office/officeart/2005/8/layout/hierarchy1"/>
    <dgm:cxn modelId="{DE058A81-5F66-4263-85A7-0D7D98449989}" type="presOf" srcId="{CCA4712B-8D76-464D-B5F5-E9B7AE0762B3}" destId="{331E1523-1D94-4AEE-A280-5D64B72F3F5B}" srcOrd="0" destOrd="0" presId="urn:microsoft.com/office/officeart/2005/8/layout/hierarchy1"/>
    <dgm:cxn modelId="{1FED664C-32CF-4A93-BEA7-2FC2FFAB510A}" type="presOf" srcId="{FAF73CAC-D378-4F94-A4CB-A41049702C22}" destId="{251BC5EA-1304-406B-8802-319783B3AB5F}" srcOrd="0" destOrd="0" presId="urn:microsoft.com/office/officeart/2005/8/layout/hierarchy1"/>
    <dgm:cxn modelId="{8D017A7A-BA91-4AC2-84BD-1F5E89A46ECE}" srcId="{018B13DD-99BE-4FBB-8349-160A5867AA46}" destId="{D2C1881D-EB36-4090-9128-42BC775BB39B}" srcOrd="1" destOrd="0" parTransId="{5394284B-C5D3-46CB-84A3-F43BA1EEFCA6}" sibTransId="{71C5E0A3-8786-4052-B8EC-FF3155ADAD15}"/>
    <dgm:cxn modelId="{0168561C-5BC1-479A-915F-53FBADF4080E}" type="presOf" srcId="{5D04DD67-9478-441D-BF16-9CACEF68BD2D}" destId="{D1701DAA-8D58-4013-82A4-E37CEF8002E2}" srcOrd="0" destOrd="0" presId="urn:microsoft.com/office/officeart/2005/8/layout/hierarchy1"/>
    <dgm:cxn modelId="{7D95726A-4298-4F25-9048-416C997D9BFA}" type="presOf" srcId="{43A2E836-4495-414A-8492-22306AF33098}" destId="{C6257F8D-BB78-48EE-93A2-2E813893A616}" srcOrd="0" destOrd="0" presId="urn:microsoft.com/office/officeart/2005/8/layout/hierarchy1"/>
    <dgm:cxn modelId="{4E53E594-2F9A-4E36-9F10-6481616E876A}" type="presOf" srcId="{F3C56F96-7D4C-4ADC-839B-B583E52D35D8}" destId="{145CC391-5AF0-4F28-8BEE-D820CA1F0E42}" srcOrd="0" destOrd="0" presId="urn:microsoft.com/office/officeart/2005/8/layout/hierarchy1"/>
    <dgm:cxn modelId="{C827480C-D155-4A49-AC24-947632F5792D}" type="presOf" srcId="{133D54DF-B731-4ED2-A0F0-751DC2EB9366}" destId="{8BCFBA16-5EA2-4357-B731-F27A5FE8B62F}" srcOrd="0" destOrd="0" presId="urn:microsoft.com/office/officeart/2005/8/layout/hierarchy1"/>
    <dgm:cxn modelId="{016C7562-4602-4C40-A938-69AB1741BD35}" type="presOf" srcId="{BFB6C153-0B86-4F20-9242-60AC6CCAE6D0}" destId="{6AB77FA0-634E-4FB5-B0A5-3ECF95923265}" srcOrd="0" destOrd="0" presId="urn:microsoft.com/office/officeart/2005/8/layout/hierarchy1"/>
    <dgm:cxn modelId="{C6E1B4C8-8A07-4DB1-A855-40F7A5CB0CCD}" type="presOf" srcId="{B7987D5E-B01F-4C08-A918-BF62A75D9F21}" destId="{A260C3C8-5799-4DE3-8DBF-202E33AF5AB6}" srcOrd="0" destOrd="0" presId="urn:microsoft.com/office/officeart/2005/8/layout/hierarchy1"/>
    <dgm:cxn modelId="{8058BACF-7EE4-4E5F-AD72-33EAF1190409}" type="presOf" srcId="{D2C1881D-EB36-4090-9128-42BC775BB39B}" destId="{D2FE85C6-DB53-4217-B460-49FE30ED235C}" srcOrd="0" destOrd="0" presId="urn:microsoft.com/office/officeart/2005/8/layout/hierarchy1"/>
    <dgm:cxn modelId="{7E9B5F54-4804-43E5-9BEA-C360F983A832}" type="presOf" srcId="{CCDF1D8E-5BDD-429C-BBC6-7535429D2577}" destId="{A0A97289-EEC1-4338-80F8-571B09C72DCB}" srcOrd="0" destOrd="0" presId="urn:microsoft.com/office/officeart/2005/8/layout/hierarchy1"/>
    <dgm:cxn modelId="{68616E4A-5ADF-4128-B2A5-DA5CBB893405}" type="presOf" srcId="{7858DC30-585E-45CD-B848-15A86BD5F2F3}" destId="{832C4540-673B-4859-B4F0-52A855B87481}" srcOrd="0" destOrd="0" presId="urn:microsoft.com/office/officeart/2005/8/layout/hierarchy1"/>
    <dgm:cxn modelId="{374C763B-E012-47A3-832F-099910C1AB79}" srcId="{CCA4712B-8D76-464D-B5F5-E9B7AE0762B3}" destId="{018B13DD-99BE-4FBB-8349-160A5867AA46}" srcOrd="0" destOrd="0" parTransId="{4674D3D9-24B9-4F8A-A29C-ACD9589F7DDC}" sibTransId="{F4C2F1B5-86A4-4645-A48E-88E207BFABD4}"/>
    <dgm:cxn modelId="{186325EA-D4CE-4AE9-BC73-AB16A86EADB9}" type="presOf" srcId="{B0A299E9-AA7A-44B3-AEC3-41190354D87B}" destId="{B44B05C5-96FE-4E49-B66D-458B7E91D990}" srcOrd="0" destOrd="0" presId="urn:microsoft.com/office/officeart/2005/8/layout/hierarchy1"/>
    <dgm:cxn modelId="{BF493EBF-FC35-4DC9-843D-6E35DC529E24}" type="presOf" srcId="{288B9958-D8A1-4F26-830F-325C2F6BEB47}" destId="{D0C50572-A907-46BA-BA42-5CBB22F7C0EA}" srcOrd="0" destOrd="0" presId="urn:microsoft.com/office/officeart/2005/8/layout/hierarchy1"/>
    <dgm:cxn modelId="{5FEFF41B-A65A-4A80-8545-8A8CBC6FBC2D}" type="presParOf" srcId="{331E1523-1D94-4AEE-A280-5D64B72F3F5B}" destId="{FE0F003F-E481-481B-8D60-F1C504CAC193}" srcOrd="0" destOrd="0" presId="urn:microsoft.com/office/officeart/2005/8/layout/hierarchy1"/>
    <dgm:cxn modelId="{E3FC4026-D542-4466-B51A-7FEA6992C65F}" type="presParOf" srcId="{FE0F003F-E481-481B-8D60-F1C504CAC193}" destId="{4560738B-7A84-4D25-A9AA-D0705C62D139}" srcOrd="0" destOrd="0" presId="urn:microsoft.com/office/officeart/2005/8/layout/hierarchy1"/>
    <dgm:cxn modelId="{67BDC49A-9193-4C7C-8152-FDA8E8246DBA}" type="presParOf" srcId="{4560738B-7A84-4D25-A9AA-D0705C62D139}" destId="{B45F6399-493E-4489-884C-E240E73207BC}" srcOrd="0" destOrd="0" presId="urn:microsoft.com/office/officeart/2005/8/layout/hierarchy1"/>
    <dgm:cxn modelId="{29CEFCD4-38B5-42C9-9851-F072C422B2CF}" type="presParOf" srcId="{4560738B-7A84-4D25-A9AA-D0705C62D139}" destId="{23A28AA9-5EAF-4351-8649-7E0F57983F50}" srcOrd="1" destOrd="0" presId="urn:microsoft.com/office/officeart/2005/8/layout/hierarchy1"/>
    <dgm:cxn modelId="{48EE0139-81D6-4517-AE4D-E0EBD88C1A4A}" type="presParOf" srcId="{FE0F003F-E481-481B-8D60-F1C504CAC193}" destId="{0A32EA36-147C-4334-B347-E3AB9C114A32}" srcOrd="1" destOrd="0" presId="urn:microsoft.com/office/officeart/2005/8/layout/hierarchy1"/>
    <dgm:cxn modelId="{A2DE2974-0B05-4F1D-8E09-A34BBFC0454C}" type="presParOf" srcId="{0A32EA36-147C-4334-B347-E3AB9C114A32}" destId="{6AB77FA0-634E-4FB5-B0A5-3ECF95923265}" srcOrd="0" destOrd="0" presId="urn:microsoft.com/office/officeart/2005/8/layout/hierarchy1"/>
    <dgm:cxn modelId="{3153170A-CD43-48E5-A069-BD0FCBC5064B}" type="presParOf" srcId="{0A32EA36-147C-4334-B347-E3AB9C114A32}" destId="{00DEB6BE-FC71-4440-AD61-93ECAE6DE387}" srcOrd="1" destOrd="0" presId="urn:microsoft.com/office/officeart/2005/8/layout/hierarchy1"/>
    <dgm:cxn modelId="{99D3B0C5-CA16-496B-B99C-8279EBC055D2}" type="presParOf" srcId="{00DEB6BE-FC71-4440-AD61-93ECAE6DE387}" destId="{EB85AE46-CE0E-469D-9D5A-D1DDF0DBDEC1}" srcOrd="0" destOrd="0" presId="urn:microsoft.com/office/officeart/2005/8/layout/hierarchy1"/>
    <dgm:cxn modelId="{227CF07C-AEA2-4FE2-A440-2FDBE4DB34AF}" type="presParOf" srcId="{EB85AE46-CE0E-469D-9D5A-D1DDF0DBDEC1}" destId="{BE0815C8-80D2-489A-9D41-4198A26BF8EC}" srcOrd="0" destOrd="0" presId="urn:microsoft.com/office/officeart/2005/8/layout/hierarchy1"/>
    <dgm:cxn modelId="{74D77776-3CAC-437F-8198-9225124B84D8}" type="presParOf" srcId="{EB85AE46-CE0E-469D-9D5A-D1DDF0DBDEC1}" destId="{E4641587-382A-4EF6-B76E-D472D3C97577}" srcOrd="1" destOrd="0" presId="urn:microsoft.com/office/officeart/2005/8/layout/hierarchy1"/>
    <dgm:cxn modelId="{F2C9AE0B-5568-471A-A232-41AF3A7C8E02}" type="presParOf" srcId="{00DEB6BE-FC71-4440-AD61-93ECAE6DE387}" destId="{68CE6263-49FF-4846-B89B-6EAF085AE194}" srcOrd="1" destOrd="0" presId="urn:microsoft.com/office/officeart/2005/8/layout/hierarchy1"/>
    <dgm:cxn modelId="{FDF5C3F5-D24C-4975-801B-0A61911AFBDF}" type="presParOf" srcId="{0A32EA36-147C-4334-B347-E3AB9C114A32}" destId="{FA61731F-A63A-4D18-987E-2A972268CCFF}" srcOrd="2" destOrd="0" presId="urn:microsoft.com/office/officeart/2005/8/layout/hierarchy1"/>
    <dgm:cxn modelId="{74A6ACFE-22B3-462A-B5BA-B8BC054957E0}" type="presParOf" srcId="{0A32EA36-147C-4334-B347-E3AB9C114A32}" destId="{111CAADD-C135-4B1F-BB88-FBFE3225C005}" srcOrd="3" destOrd="0" presId="urn:microsoft.com/office/officeart/2005/8/layout/hierarchy1"/>
    <dgm:cxn modelId="{44F3B5D1-68A8-4FB2-89C1-2B2593940ACF}" type="presParOf" srcId="{111CAADD-C135-4B1F-BB88-FBFE3225C005}" destId="{0B7DBFC8-D55B-40C2-8AC1-66A90C52B185}" srcOrd="0" destOrd="0" presId="urn:microsoft.com/office/officeart/2005/8/layout/hierarchy1"/>
    <dgm:cxn modelId="{36E83068-41A3-4D0E-B9EA-74D958AF0516}" type="presParOf" srcId="{0B7DBFC8-D55B-40C2-8AC1-66A90C52B185}" destId="{23C19582-0660-48C6-B887-7CF9E372C9BF}" srcOrd="0" destOrd="0" presId="urn:microsoft.com/office/officeart/2005/8/layout/hierarchy1"/>
    <dgm:cxn modelId="{B03A3052-3E68-4129-ABC1-E392DE400805}" type="presParOf" srcId="{0B7DBFC8-D55B-40C2-8AC1-66A90C52B185}" destId="{D2FE85C6-DB53-4217-B460-49FE30ED235C}" srcOrd="1" destOrd="0" presId="urn:microsoft.com/office/officeart/2005/8/layout/hierarchy1"/>
    <dgm:cxn modelId="{F5CC2AF8-15C9-444E-A6FB-AD63BE37CF79}" type="presParOf" srcId="{111CAADD-C135-4B1F-BB88-FBFE3225C005}" destId="{913E8B36-C780-4D96-94F9-B6A86AEEA34A}" srcOrd="1" destOrd="0" presId="urn:microsoft.com/office/officeart/2005/8/layout/hierarchy1"/>
    <dgm:cxn modelId="{FCB17BA9-94F3-4738-9446-5A09BFFEB9A3}" type="presParOf" srcId="{913E8B36-C780-4D96-94F9-B6A86AEEA34A}" destId="{7CBA7704-D8F8-4A8E-AD98-94A67AD9E2E6}" srcOrd="0" destOrd="0" presId="urn:microsoft.com/office/officeart/2005/8/layout/hierarchy1"/>
    <dgm:cxn modelId="{92CFE565-77B2-410A-8248-22CDBA85C1B6}" type="presParOf" srcId="{913E8B36-C780-4D96-94F9-B6A86AEEA34A}" destId="{F0A85861-579D-4E79-ADF1-9D6D4B662850}" srcOrd="1" destOrd="0" presId="urn:microsoft.com/office/officeart/2005/8/layout/hierarchy1"/>
    <dgm:cxn modelId="{B18F5551-38AF-4AE0-9130-6711180A36CF}" type="presParOf" srcId="{F0A85861-579D-4E79-ADF1-9D6D4B662850}" destId="{2CC02B27-DCF4-4D81-AD2A-DC7992407FC5}" srcOrd="0" destOrd="0" presId="urn:microsoft.com/office/officeart/2005/8/layout/hierarchy1"/>
    <dgm:cxn modelId="{F72BDFA5-E6CD-4A35-A487-7EDF1B4C0F00}" type="presParOf" srcId="{2CC02B27-DCF4-4D81-AD2A-DC7992407FC5}" destId="{CBF763FF-BBAB-4EBE-B89A-7C300A0BCA39}" srcOrd="0" destOrd="0" presId="urn:microsoft.com/office/officeart/2005/8/layout/hierarchy1"/>
    <dgm:cxn modelId="{F35FEFF3-6D03-4A1A-8521-B0E19868D821}" type="presParOf" srcId="{2CC02B27-DCF4-4D81-AD2A-DC7992407FC5}" destId="{8BCFBA16-5EA2-4357-B731-F27A5FE8B62F}" srcOrd="1" destOrd="0" presId="urn:microsoft.com/office/officeart/2005/8/layout/hierarchy1"/>
    <dgm:cxn modelId="{D5E186A6-AD6F-4062-80BC-0B5CF1A09CC8}" type="presParOf" srcId="{F0A85861-579D-4E79-ADF1-9D6D4B662850}" destId="{5DB4C7AD-0322-45C3-953C-FD0B2FC2612D}" srcOrd="1" destOrd="0" presId="urn:microsoft.com/office/officeart/2005/8/layout/hierarchy1"/>
    <dgm:cxn modelId="{784784D2-1AAC-4BDB-BFCF-4DC69B3386E6}" type="presParOf" srcId="{913E8B36-C780-4D96-94F9-B6A86AEEA34A}" destId="{251BC5EA-1304-406B-8802-319783B3AB5F}" srcOrd="2" destOrd="0" presId="urn:microsoft.com/office/officeart/2005/8/layout/hierarchy1"/>
    <dgm:cxn modelId="{66BC1A40-2C18-4E40-9597-5032CC9A4B63}" type="presParOf" srcId="{913E8B36-C780-4D96-94F9-B6A86AEEA34A}" destId="{F471643D-D54D-47CC-9A15-62F85C227803}" srcOrd="3" destOrd="0" presId="urn:microsoft.com/office/officeart/2005/8/layout/hierarchy1"/>
    <dgm:cxn modelId="{9E7323AA-28A5-4D50-86B9-BECF1ED86DF1}" type="presParOf" srcId="{F471643D-D54D-47CC-9A15-62F85C227803}" destId="{1EC51D8F-FA8F-4091-AC61-E9EAD6F2A14C}" srcOrd="0" destOrd="0" presId="urn:microsoft.com/office/officeart/2005/8/layout/hierarchy1"/>
    <dgm:cxn modelId="{F13E76E2-67D6-4D22-881A-3E97550DF53B}" type="presParOf" srcId="{1EC51D8F-FA8F-4091-AC61-E9EAD6F2A14C}" destId="{25A03135-525C-45F1-B612-4E68BF4FF238}" srcOrd="0" destOrd="0" presId="urn:microsoft.com/office/officeart/2005/8/layout/hierarchy1"/>
    <dgm:cxn modelId="{B4DCC66B-6102-46BE-A4D5-565BC675C2BE}" type="presParOf" srcId="{1EC51D8F-FA8F-4091-AC61-E9EAD6F2A14C}" destId="{C04DD71A-96B4-40D8-85B1-45E46088008E}" srcOrd="1" destOrd="0" presId="urn:microsoft.com/office/officeart/2005/8/layout/hierarchy1"/>
    <dgm:cxn modelId="{2B534704-F470-4F73-9D62-5C15622D7FAD}" type="presParOf" srcId="{F471643D-D54D-47CC-9A15-62F85C227803}" destId="{9769A2AB-D3B2-4582-8456-EC897C1006D2}" srcOrd="1" destOrd="0" presId="urn:microsoft.com/office/officeart/2005/8/layout/hierarchy1"/>
    <dgm:cxn modelId="{967F9864-C4A8-4FE5-96E0-2103A9536D31}" type="presParOf" srcId="{9769A2AB-D3B2-4582-8456-EC897C1006D2}" destId="{D1701DAA-8D58-4013-82A4-E37CEF8002E2}" srcOrd="0" destOrd="0" presId="urn:microsoft.com/office/officeart/2005/8/layout/hierarchy1"/>
    <dgm:cxn modelId="{992B7B55-C8BF-45F6-8DC5-775AFCA5CC75}" type="presParOf" srcId="{9769A2AB-D3B2-4582-8456-EC897C1006D2}" destId="{87B233FB-E323-41D4-A007-67F59DBD9276}" srcOrd="1" destOrd="0" presId="urn:microsoft.com/office/officeart/2005/8/layout/hierarchy1"/>
    <dgm:cxn modelId="{119A1C61-D200-4581-9D53-D17F27E64A78}" type="presParOf" srcId="{87B233FB-E323-41D4-A007-67F59DBD9276}" destId="{3DD2B5B5-1843-4B5D-84B1-69A0D85400B0}" srcOrd="0" destOrd="0" presId="urn:microsoft.com/office/officeart/2005/8/layout/hierarchy1"/>
    <dgm:cxn modelId="{2A593A7E-05E6-4D6F-A666-2617E924213E}" type="presParOf" srcId="{3DD2B5B5-1843-4B5D-84B1-69A0D85400B0}" destId="{B634F5F6-370D-4DB5-A381-EAB59B100D10}" srcOrd="0" destOrd="0" presId="urn:microsoft.com/office/officeart/2005/8/layout/hierarchy1"/>
    <dgm:cxn modelId="{C307927A-A2E5-4A00-B09B-3804A2558EE8}" type="presParOf" srcId="{3DD2B5B5-1843-4B5D-84B1-69A0D85400B0}" destId="{9C9A7433-7F40-4C02-AFEE-931DEA68A281}" srcOrd="1" destOrd="0" presId="urn:microsoft.com/office/officeart/2005/8/layout/hierarchy1"/>
    <dgm:cxn modelId="{01AA22A9-D9C0-416C-8887-7612DF3E9A70}" type="presParOf" srcId="{87B233FB-E323-41D4-A007-67F59DBD9276}" destId="{BA20A957-766A-4BA0-B032-E9444331C134}" srcOrd="1" destOrd="0" presId="urn:microsoft.com/office/officeart/2005/8/layout/hierarchy1"/>
    <dgm:cxn modelId="{A86CD2F0-2D6E-4BB6-B7F2-787E935AA1EC}" type="presParOf" srcId="{9769A2AB-D3B2-4582-8456-EC897C1006D2}" destId="{A0A97289-EEC1-4338-80F8-571B09C72DCB}" srcOrd="2" destOrd="0" presId="urn:microsoft.com/office/officeart/2005/8/layout/hierarchy1"/>
    <dgm:cxn modelId="{C58E4942-EB51-4E0E-B791-69A262BE98BF}" type="presParOf" srcId="{9769A2AB-D3B2-4582-8456-EC897C1006D2}" destId="{6FBA7D8B-B601-4321-89A0-BA0D228727E1}" srcOrd="3" destOrd="0" presId="urn:microsoft.com/office/officeart/2005/8/layout/hierarchy1"/>
    <dgm:cxn modelId="{13037BC4-326B-48A7-BBBD-EE08BA7443E5}" type="presParOf" srcId="{6FBA7D8B-B601-4321-89A0-BA0D228727E1}" destId="{6A5CF724-A87C-46AF-A4F9-0585458B3DC8}" srcOrd="0" destOrd="0" presId="urn:microsoft.com/office/officeart/2005/8/layout/hierarchy1"/>
    <dgm:cxn modelId="{6B3B1934-CD2F-4109-AD4B-955688DB1BD5}" type="presParOf" srcId="{6A5CF724-A87C-46AF-A4F9-0585458B3DC8}" destId="{06ADBDD5-AA50-4A4F-BEA0-51E46D94B43A}" srcOrd="0" destOrd="0" presId="urn:microsoft.com/office/officeart/2005/8/layout/hierarchy1"/>
    <dgm:cxn modelId="{61474E1F-5099-48D7-B4F4-255B2C53C0BB}" type="presParOf" srcId="{6A5CF724-A87C-46AF-A4F9-0585458B3DC8}" destId="{D0C50572-A907-46BA-BA42-5CBB22F7C0EA}" srcOrd="1" destOrd="0" presId="urn:microsoft.com/office/officeart/2005/8/layout/hierarchy1"/>
    <dgm:cxn modelId="{9785B175-9D98-4650-9B82-E53584506422}" type="presParOf" srcId="{6FBA7D8B-B601-4321-89A0-BA0D228727E1}" destId="{2B01B8F6-F46A-425C-9FA5-78492744B6E2}" srcOrd="1" destOrd="0" presId="urn:microsoft.com/office/officeart/2005/8/layout/hierarchy1"/>
    <dgm:cxn modelId="{15E6F9F9-6712-4976-85AA-44FF118A1D91}" type="presParOf" srcId="{9769A2AB-D3B2-4582-8456-EC897C1006D2}" destId="{B44B05C5-96FE-4E49-B66D-458B7E91D990}" srcOrd="4" destOrd="0" presId="urn:microsoft.com/office/officeart/2005/8/layout/hierarchy1"/>
    <dgm:cxn modelId="{C02EDF21-B6A6-4BFE-939B-2B5B93C0B519}" type="presParOf" srcId="{9769A2AB-D3B2-4582-8456-EC897C1006D2}" destId="{FA96EF0A-48E4-4848-B2F3-3BF2ABBCC6EC}" srcOrd="5" destOrd="0" presId="urn:microsoft.com/office/officeart/2005/8/layout/hierarchy1"/>
    <dgm:cxn modelId="{78628063-C4A3-4936-BCE0-C0375BEEDC6C}" type="presParOf" srcId="{FA96EF0A-48E4-4848-B2F3-3BF2ABBCC6EC}" destId="{B6373D9D-9AF7-45A8-976F-5A605DB9A217}" srcOrd="0" destOrd="0" presId="urn:microsoft.com/office/officeart/2005/8/layout/hierarchy1"/>
    <dgm:cxn modelId="{71EBF069-85A9-4151-8A1C-0BF6AECAB743}" type="presParOf" srcId="{B6373D9D-9AF7-45A8-976F-5A605DB9A217}" destId="{A165DEFB-0D06-48B6-B26C-07F5C05F9BC4}" srcOrd="0" destOrd="0" presId="urn:microsoft.com/office/officeart/2005/8/layout/hierarchy1"/>
    <dgm:cxn modelId="{2AF29DC7-DF1A-407A-A2FA-D626F59D16B3}" type="presParOf" srcId="{B6373D9D-9AF7-45A8-976F-5A605DB9A217}" destId="{832C4540-673B-4859-B4F0-52A855B87481}" srcOrd="1" destOrd="0" presId="urn:microsoft.com/office/officeart/2005/8/layout/hierarchy1"/>
    <dgm:cxn modelId="{50349885-6C28-4C26-B6DE-5456EC869712}" type="presParOf" srcId="{FA96EF0A-48E4-4848-B2F3-3BF2ABBCC6EC}" destId="{14D57141-D2C5-4F78-93C0-0C89DE812FB7}" srcOrd="1" destOrd="0" presId="urn:microsoft.com/office/officeart/2005/8/layout/hierarchy1"/>
    <dgm:cxn modelId="{AF255C0E-84FD-4A9B-829B-CDCF92DA5320}" type="presParOf" srcId="{9769A2AB-D3B2-4582-8456-EC897C1006D2}" destId="{0D940649-AD00-4970-9353-F92DF6262F45}" srcOrd="6" destOrd="0" presId="urn:microsoft.com/office/officeart/2005/8/layout/hierarchy1"/>
    <dgm:cxn modelId="{CB6D3298-4469-49B0-B63F-696C4F668F56}" type="presParOf" srcId="{9769A2AB-D3B2-4582-8456-EC897C1006D2}" destId="{5918A2A2-9892-4DA3-AA98-4D933876D09F}" srcOrd="7" destOrd="0" presId="urn:microsoft.com/office/officeart/2005/8/layout/hierarchy1"/>
    <dgm:cxn modelId="{41169426-EEE9-43C7-9B30-72E7CA3CEC12}" type="presParOf" srcId="{5918A2A2-9892-4DA3-AA98-4D933876D09F}" destId="{D8A5C61C-2942-4A05-9B87-692A271ADA57}" srcOrd="0" destOrd="0" presId="urn:microsoft.com/office/officeart/2005/8/layout/hierarchy1"/>
    <dgm:cxn modelId="{87E89BC3-7C0E-416A-A28B-BA056564CBEE}" type="presParOf" srcId="{D8A5C61C-2942-4A05-9B87-692A271ADA57}" destId="{32E5D6CA-19F8-4A18-A7A8-7A07FA486047}" srcOrd="0" destOrd="0" presId="urn:microsoft.com/office/officeart/2005/8/layout/hierarchy1"/>
    <dgm:cxn modelId="{43E84FD9-A12A-420B-BC0F-C6BA7A8B0B9C}" type="presParOf" srcId="{D8A5C61C-2942-4A05-9B87-692A271ADA57}" destId="{A260C3C8-5799-4DE3-8DBF-202E33AF5AB6}" srcOrd="1" destOrd="0" presId="urn:microsoft.com/office/officeart/2005/8/layout/hierarchy1"/>
    <dgm:cxn modelId="{3E19EEC3-4827-474F-A2FF-2115CACD4400}" type="presParOf" srcId="{5918A2A2-9892-4DA3-AA98-4D933876D09F}" destId="{8009A32C-B837-4D87-A3E3-FDCC6590EFEA}" srcOrd="1" destOrd="0" presId="urn:microsoft.com/office/officeart/2005/8/layout/hierarchy1"/>
    <dgm:cxn modelId="{126BC458-1233-4101-AE89-C0484648AD2F}" type="presParOf" srcId="{913E8B36-C780-4D96-94F9-B6A86AEEA34A}" destId="{CD344442-6327-43D1-8F30-2F26E331F7C1}" srcOrd="4" destOrd="0" presId="urn:microsoft.com/office/officeart/2005/8/layout/hierarchy1"/>
    <dgm:cxn modelId="{2C681DB2-9253-466A-8E74-7B22C5885B89}" type="presParOf" srcId="{913E8B36-C780-4D96-94F9-B6A86AEEA34A}" destId="{2D7721E0-7174-431B-A136-169EEAC36E95}" srcOrd="5" destOrd="0" presId="urn:microsoft.com/office/officeart/2005/8/layout/hierarchy1"/>
    <dgm:cxn modelId="{17EBF915-201F-4033-82C3-96B5FB91AD95}" type="presParOf" srcId="{2D7721E0-7174-431B-A136-169EEAC36E95}" destId="{CEB2455B-F54B-4FB2-B669-7600ACDF81D7}" srcOrd="0" destOrd="0" presId="urn:microsoft.com/office/officeart/2005/8/layout/hierarchy1"/>
    <dgm:cxn modelId="{14CFF964-D614-40BA-9CA2-4926EFD05582}" type="presParOf" srcId="{CEB2455B-F54B-4FB2-B669-7600ACDF81D7}" destId="{5E90CECB-8E91-4374-BF0F-773A595CE99E}" srcOrd="0" destOrd="0" presId="urn:microsoft.com/office/officeart/2005/8/layout/hierarchy1"/>
    <dgm:cxn modelId="{CDB5C9FA-8185-430D-ABAA-CBCF63A9B3EF}" type="presParOf" srcId="{CEB2455B-F54B-4FB2-B669-7600ACDF81D7}" destId="{C3B1B09C-7513-4623-AA88-CE18D0337071}" srcOrd="1" destOrd="0" presId="urn:microsoft.com/office/officeart/2005/8/layout/hierarchy1"/>
    <dgm:cxn modelId="{265CAC6C-CA06-4497-9825-00F8BC8C9A55}" type="presParOf" srcId="{2D7721E0-7174-431B-A136-169EEAC36E95}" destId="{A17D5FEC-7849-451F-80E4-4440AB383671}" srcOrd="1" destOrd="0" presId="urn:microsoft.com/office/officeart/2005/8/layout/hierarchy1"/>
    <dgm:cxn modelId="{D12F3F1A-6923-40A4-AAC4-24175752AC4C}" type="presParOf" srcId="{0A32EA36-147C-4334-B347-E3AB9C114A32}" destId="{EAF4F5FF-B90D-4822-9DCE-CA8375537C2C}" srcOrd="4" destOrd="0" presId="urn:microsoft.com/office/officeart/2005/8/layout/hierarchy1"/>
    <dgm:cxn modelId="{C1CA6CEB-EF96-4020-A679-1613C85057FF}" type="presParOf" srcId="{0A32EA36-147C-4334-B347-E3AB9C114A32}" destId="{BF8AB2D5-0D92-48B1-BA0E-1D8835336004}" srcOrd="5" destOrd="0" presId="urn:microsoft.com/office/officeart/2005/8/layout/hierarchy1"/>
    <dgm:cxn modelId="{6B798F9F-4803-45C1-A8A8-AA4944DCA0F4}" type="presParOf" srcId="{BF8AB2D5-0D92-48B1-BA0E-1D8835336004}" destId="{C4F8EFCB-735A-473F-BF0F-A0D1D99D9881}" srcOrd="0" destOrd="0" presId="urn:microsoft.com/office/officeart/2005/8/layout/hierarchy1"/>
    <dgm:cxn modelId="{85C02645-2D75-433D-B42A-DC3143E2EFC4}" type="presParOf" srcId="{C4F8EFCB-735A-473F-BF0F-A0D1D99D9881}" destId="{25F7F640-C261-4833-B855-D6C4D181F388}" srcOrd="0" destOrd="0" presId="urn:microsoft.com/office/officeart/2005/8/layout/hierarchy1"/>
    <dgm:cxn modelId="{38306ECF-7ED6-4A0C-8BE6-F7B4EA70700B}" type="presParOf" srcId="{C4F8EFCB-735A-473F-BF0F-A0D1D99D9881}" destId="{145CC391-5AF0-4F28-8BEE-D820CA1F0E42}" srcOrd="1" destOrd="0" presId="urn:microsoft.com/office/officeart/2005/8/layout/hierarchy1"/>
    <dgm:cxn modelId="{A2D10C52-ADA0-499F-801B-274613F79CED}" type="presParOf" srcId="{BF8AB2D5-0D92-48B1-BA0E-1D8835336004}" destId="{477740D8-7531-45B9-B9E2-4D0B30E9DE4E}" srcOrd="1" destOrd="0" presId="urn:microsoft.com/office/officeart/2005/8/layout/hierarchy1"/>
    <dgm:cxn modelId="{C41EC7E9-ACF6-4857-97F2-E35877D49470}" type="presParOf" srcId="{0A32EA36-147C-4334-B347-E3AB9C114A32}" destId="{C6257F8D-BB78-48EE-93A2-2E813893A616}" srcOrd="6" destOrd="0" presId="urn:microsoft.com/office/officeart/2005/8/layout/hierarchy1"/>
    <dgm:cxn modelId="{7B603E3B-359F-41FA-B57E-9BD72285BAAE}" type="presParOf" srcId="{0A32EA36-147C-4334-B347-E3AB9C114A32}" destId="{532CD6BA-E935-4EAE-9980-6399854E4513}" srcOrd="7" destOrd="0" presId="urn:microsoft.com/office/officeart/2005/8/layout/hierarchy1"/>
    <dgm:cxn modelId="{B01CD8F9-ECB8-4C01-A1FC-47D3094A18BD}" type="presParOf" srcId="{532CD6BA-E935-4EAE-9980-6399854E4513}" destId="{8F32401A-943E-4628-881F-C73219CCEB67}" srcOrd="0" destOrd="0" presId="urn:microsoft.com/office/officeart/2005/8/layout/hierarchy1"/>
    <dgm:cxn modelId="{09D0BCB8-508B-4ED3-B199-01676929CED0}" type="presParOf" srcId="{8F32401A-943E-4628-881F-C73219CCEB67}" destId="{A282739B-E0DB-4025-A1E7-EBC24CC44694}" srcOrd="0" destOrd="0" presId="urn:microsoft.com/office/officeart/2005/8/layout/hierarchy1"/>
    <dgm:cxn modelId="{0DC39E31-74B5-46C2-A024-08139EAEA782}" type="presParOf" srcId="{8F32401A-943E-4628-881F-C73219CCEB67}" destId="{A09152C4-038E-4117-9851-CE065BD0C503}" srcOrd="1" destOrd="0" presId="urn:microsoft.com/office/officeart/2005/8/layout/hierarchy1"/>
    <dgm:cxn modelId="{2428C44A-00BE-4A2C-B390-85A6C61E16F0}" type="presParOf" srcId="{532CD6BA-E935-4EAE-9980-6399854E4513}" destId="{016EABC7-710C-405F-B980-84A4B10AC8F6}"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6E20E5-3D93-4A8D-A90F-D305FC614F0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69C91DDE-88CA-49DB-9846-F9E6645ABBA5}">
      <dgm:prSet phldrT="[Text]"/>
      <dgm:spPr>
        <a:ln>
          <a:solidFill>
            <a:schemeClr val="tx1"/>
          </a:solidFill>
        </a:ln>
      </dgm:spPr>
      <dgm:t>
        <a:bodyPr/>
        <a:lstStyle/>
        <a:p>
          <a:r>
            <a:rPr lang="en-US" dirty="0" smtClean="0"/>
            <a:t>Mr. </a:t>
          </a:r>
          <a:r>
            <a:rPr lang="en-US" dirty="0" err="1" smtClean="0"/>
            <a:t>Makki</a:t>
          </a:r>
          <a:endParaRPr lang="en-US" dirty="0"/>
        </a:p>
      </dgm:t>
    </dgm:pt>
    <dgm:pt modelId="{2FBEA1C4-CD51-455E-849A-04BB70AEFAAF}" type="parTrans" cxnId="{D8BD3539-2392-4E86-9639-2291CA9B21B7}">
      <dgm:prSet/>
      <dgm:spPr/>
      <dgm:t>
        <a:bodyPr/>
        <a:lstStyle/>
        <a:p>
          <a:endParaRPr lang="en-US"/>
        </a:p>
      </dgm:t>
    </dgm:pt>
    <dgm:pt modelId="{B5AEEACD-CDFB-40DB-8048-293ACFD659EB}" type="sibTrans" cxnId="{D8BD3539-2392-4E86-9639-2291CA9B21B7}">
      <dgm:prSet/>
      <dgm:spPr/>
      <dgm:t>
        <a:bodyPr/>
        <a:lstStyle/>
        <a:p>
          <a:endParaRPr lang="en-US"/>
        </a:p>
      </dgm:t>
    </dgm:pt>
    <dgm:pt modelId="{C7238D4C-BC2F-4DF6-A368-934877DE14C9}">
      <dgm:prSet phldrT="[Text]"/>
      <dgm:spPr>
        <a:ln>
          <a:solidFill>
            <a:schemeClr val="tx1"/>
          </a:solidFill>
        </a:ln>
      </dgm:spPr>
      <dgm:t>
        <a:bodyPr/>
        <a:lstStyle/>
        <a:p>
          <a:r>
            <a:rPr lang="en-US" dirty="0" smtClean="0"/>
            <a:t>Ms. Hajir</a:t>
          </a:r>
          <a:br>
            <a:rPr lang="en-US" dirty="0" smtClean="0"/>
          </a:br>
          <a:r>
            <a:rPr lang="en-US" dirty="0" smtClean="0"/>
            <a:t> (Me)</a:t>
          </a:r>
          <a:endParaRPr lang="en-US" dirty="0"/>
        </a:p>
      </dgm:t>
    </dgm:pt>
    <dgm:pt modelId="{AFC37CE7-0CC9-46E3-A588-5B8B5258B90C}" type="parTrans" cxnId="{3C015343-5336-4122-AF9C-5226821C2941}">
      <dgm:prSet/>
      <dgm:spPr/>
      <dgm:t>
        <a:bodyPr/>
        <a:lstStyle/>
        <a:p>
          <a:endParaRPr lang="en-US"/>
        </a:p>
      </dgm:t>
    </dgm:pt>
    <dgm:pt modelId="{FD52DF73-00C1-4ECF-92FC-847D82AFB0F1}" type="sibTrans" cxnId="{3C015343-5336-4122-AF9C-5226821C2941}">
      <dgm:prSet/>
      <dgm:spPr/>
      <dgm:t>
        <a:bodyPr/>
        <a:lstStyle/>
        <a:p>
          <a:endParaRPr lang="en-US"/>
        </a:p>
      </dgm:t>
    </dgm:pt>
    <dgm:pt modelId="{88FE8190-AEC8-4591-B729-6A428370E93C}">
      <dgm:prSet/>
      <dgm:spPr>
        <a:solidFill>
          <a:schemeClr val="bg1">
            <a:alpha val="90000"/>
          </a:schemeClr>
        </a:solidFill>
        <a:ln>
          <a:solidFill>
            <a:schemeClr val="tx1"/>
          </a:solidFill>
        </a:ln>
      </dgm:spPr>
      <dgm:t>
        <a:bodyPr/>
        <a:lstStyle/>
        <a:p>
          <a:r>
            <a:rPr lang="en-US" dirty="0" smtClean="0"/>
            <a:t>TBD</a:t>
          </a:r>
          <a:endParaRPr lang="en-US" dirty="0" smtClean="0">
            <a:solidFill>
              <a:schemeClr val="tx1"/>
            </a:solidFill>
          </a:endParaRPr>
        </a:p>
      </dgm:t>
    </dgm:pt>
    <dgm:pt modelId="{D1BF2D42-698C-46DF-B869-4ED39691EADA}" type="parTrans" cxnId="{BCA797AD-03BF-46D7-BF5A-93529D06B278}">
      <dgm:prSet/>
      <dgm:spPr/>
      <dgm:t>
        <a:bodyPr/>
        <a:lstStyle/>
        <a:p>
          <a:endParaRPr lang="en-US"/>
        </a:p>
      </dgm:t>
    </dgm:pt>
    <dgm:pt modelId="{3388ECD9-8441-40B4-A5F2-31DE3DA090EF}" type="sibTrans" cxnId="{BCA797AD-03BF-46D7-BF5A-93529D06B278}">
      <dgm:prSet/>
      <dgm:spPr/>
      <dgm:t>
        <a:bodyPr/>
        <a:lstStyle/>
        <a:p>
          <a:endParaRPr lang="en-US"/>
        </a:p>
      </dgm:t>
    </dgm:pt>
    <dgm:pt modelId="{23687D99-0756-41CB-B2F4-DE64F54EA740}">
      <dgm:prSet/>
      <dgm:spPr>
        <a:solidFill>
          <a:schemeClr val="bg1">
            <a:alpha val="90000"/>
          </a:schemeClr>
        </a:solidFill>
        <a:ln>
          <a:solidFill>
            <a:schemeClr val="tx1"/>
          </a:solidFill>
        </a:ln>
      </dgm:spPr>
      <dgm:t>
        <a:bodyPr/>
        <a:lstStyle/>
        <a:p>
          <a:r>
            <a:rPr lang="en-US" dirty="0" smtClean="0"/>
            <a:t>TBD</a:t>
          </a:r>
          <a:endParaRPr lang="en-US" dirty="0">
            <a:solidFill>
              <a:schemeClr val="tx1"/>
            </a:solidFill>
          </a:endParaRPr>
        </a:p>
      </dgm:t>
    </dgm:pt>
    <dgm:pt modelId="{FF5A00B2-0524-4664-8DD7-242D9C7A9E2C}" type="parTrans" cxnId="{4B637973-8C3D-4E33-9365-C2E90624EFE4}">
      <dgm:prSet/>
      <dgm:spPr/>
      <dgm:t>
        <a:bodyPr/>
        <a:lstStyle/>
        <a:p>
          <a:endParaRPr lang="en-US"/>
        </a:p>
      </dgm:t>
    </dgm:pt>
    <dgm:pt modelId="{9C4A88E9-E891-4C6D-BC54-70B3BBB74B19}" type="sibTrans" cxnId="{4B637973-8C3D-4E33-9365-C2E90624EFE4}">
      <dgm:prSet/>
      <dgm:spPr/>
      <dgm:t>
        <a:bodyPr/>
        <a:lstStyle/>
        <a:p>
          <a:endParaRPr lang="en-US"/>
        </a:p>
      </dgm:t>
    </dgm:pt>
    <dgm:pt modelId="{E7456A57-5A01-4C86-8E21-C0083023FA4F}">
      <dgm:prSet/>
      <dgm:spPr>
        <a:solidFill>
          <a:schemeClr val="bg1">
            <a:alpha val="90000"/>
          </a:schemeClr>
        </a:solidFill>
        <a:ln>
          <a:solidFill>
            <a:schemeClr val="tx1"/>
          </a:solidFill>
        </a:ln>
      </dgm:spPr>
      <dgm:t>
        <a:bodyPr/>
        <a:lstStyle/>
        <a:p>
          <a:r>
            <a:rPr lang="en-US" dirty="0" smtClean="0"/>
            <a:t>TBD</a:t>
          </a:r>
          <a:endParaRPr lang="en-US" dirty="0">
            <a:solidFill>
              <a:schemeClr val="tx1"/>
            </a:solidFill>
          </a:endParaRPr>
        </a:p>
      </dgm:t>
    </dgm:pt>
    <dgm:pt modelId="{22D4C968-E4BF-48B4-9FD5-DA20AED80F31}" type="parTrans" cxnId="{48234368-1AF2-47FF-90D6-D72C613D72EA}">
      <dgm:prSet/>
      <dgm:spPr/>
      <dgm:t>
        <a:bodyPr/>
        <a:lstStyle/>
        <a:p>
          <a:endParaRPr lang="en-US"/>
        </a:p>
      </dgm:t>
    </dgm:pt>
    <dgm:pt modelId="{70CBEBE8-112B-4BE9-AB93-F6415485AE18}" type="sibTrans" cxnId="{48234368-1AF2-47FF-90D6-D72C613D72EA}">
      <dgm:prSet/>
      <dgm:spPr/>
      <dgm:t>
        <a:bodyPr/>
        <a:lstStyle/>
        <a:p>
          <a:endParaRPr lang="en-US"/>
        </a:p>
      </dgm:t>
    </dgm:pt>
    <dgm:pt modelId="{C11B0AA8-BE51-4481-B951-D189911F5DD7}">
      <dgm:prSet/>
      <dgm:spPr>
        <a:solidFill>
          <a:schemeClr val="bg1">
            <a:alpha val="90000"/>
          </a:schemeClr>
        </a:solidFill>
        <a:ln>
          <a:solidFill>
            <a:schemeClr val="tx1"/>
          </a:solidFill>
        </a:ln>
      </dgm:spPr>
      <dgm:t>
        <a:bodyPr/>
        <a:lstStyle/>
        <a:p>
          <a:r>
            <a:rPr lang="en-US" dirty="0" smtClean="0"/>
            <a:t>TBD</a:t>
          </a:r>
          <a:endParaRPr lang="en-US" dirty="0">
            <a:solidFill>
              <a:schemeClr val="tx1"/>
            </a:solidFill>
          </a:endParaRPr>
        </a:p>
      </dgm:t>
    </dgm:pt>
    <dgm:pt modelId="{CE7EF9F4-B374-4F73-835D-C30A00FF647C}" type="parTrans" cxnId="{D939E29E-A14B-4003-9A31-05F4963C3FC3}">
      <dgm:prSet/>
      <dgm:spPr/>
      <dgm:t>
        <a:bodyPr/>
        <a:lstStyle/>
        <a:p>
          <a:endParaRPr lang="en-US"/>
        </a:p>
      </dgm:t>
    </dgm:pt>
    <dgm:pt modelId="{2675146A-920B-45E1-8694-581BAEAF6640}" type="sibTrans" cxnId="{D939E29E-A14B-4003-9A31-05F4963C3FC3}">
      <dgm:prSet/>
      <dgm:spPr/>
      <dgm:t>
        <a:bodyPr/>
        <a:lstStyle/>
        <a:p>
          <a:endParaRPr lang="en-US"/>
        </a:p>
      </dgm:t>
    </dgm:pt>
    <dgm:pt modelId="{284D845A-6F41-4B25-B9B5-60D667B8B482}">
      <dgm:prSet/>
      <dgm:spPr>
        <a:ln>
          <a:solidFill>
            <a:schemeClr val="tx1"/>
          </a:solidFill>
        </a:ln>
      </dgm:spPr>
      <dgm:t>
        <a:bodyPr/>
        <a:lstStyle/>
        <a:p>
          <a:r>
            <a:rPr lang="en-US" dirty="0" smtClean="0"/>
            <a:t>TBD</a:t>
          </a:r>
          <a:endParaRPr lang="en-US" dirty="0" smtClean="0">
            <a:solidFill>
              <a:schemeClr val="tx1"/>
            </a:solidFill>
          </a:endParaRPr>
        </a:p>
      </dgm:t>
    </dgm:pt>
    <dgm:pt modelId="{0643E980-8479-42B6-931B-C0B6A279A574}" type="parTrans" cxnId="{629DEB84-DED0-407B-8011-C1B267749456}">
      <dgm:prSet/>
      <dgm:spPr/>
      <dgm:t>
        <a:bodyPr/>
        <a:lstStyle/>
        <a:p>
          <a:endParaRPr lang="en-US"/>
        </a:p>
      </dgm:t>
    </dgm:pt>
    <dgm:pt modelId="{2A88A4A4-3F65-40BD-BD48-BA8841CFCA6B}" type="sibTrans" cxnId="{629DEB84-DED0-407B-8011-C1B267749456}">
      <dgm:prSet/>
      <dgm:spPr/>
      <dgm:t>
        <a:bodyPr/>
        <a:lstStyle/>
        <a:p>
          <a:endParaRPr lang="en-US"/>
        </a:p>
      </dgm:t>
    </dgm:pt>
    <dgm:pt modelId="{78B00FE9-0724-4F42-8441-07313B879EED}">
      <dgm:prSet/>
      <dgm:spPr>
        <a:ln>
          <a:solidFill>
            <a:schemeClr val="tx1"/>
          </a:solidFill>
        </a:ln>
      </dgm:spPr>
      <dgm:t>
        <a:bodyPr/>
        <a:lstStyle/>
        <a:p>
          <a:r>
            <a:rPr lang="en-US" dirty="0" smtClean="0"/>
            <a:t>TBD</a:t>
          </a:r>
          <a:endParaRPr lang="en-US" dirty="0">
            <a:solidFill>
              <a:schemeClr val="tx1"/>
            </a:solidFill>
          </a:endParaRPr>
        </a:p>
      </dgm:t>
    </dgm:pt>
    <dgm:pt modelId="{491CF3C7-08AF-44E7-B9A8-CC62F00D2B6E}" type="parTrans" cxnId="{429AD705-20A1-4FB4-AD72-FB34EC2ACAC6}">
      <dgm:prSet/>
      <dgm:spPr/>
      <dgm:t>
        <a:bodyPr/>
        <a:lstStyle/>
        <a:p>
          <a:endParaRPr lang="en-US"/>
        </a:p>
      </dgm:t>
    </dgm:pt>
    <dgm:pt modelId="{5F3A6E4C-1FA5-4009-91E7-640DD1A9C317}" type="sibTrans" cxnId="{429AD705-20A1-4FB4-AD72-FB34EC2ACAC6}">
      <dgm:prSet/>
      <dgm:spPr/>
      <dgm:t>
        <a:bodyPr/>
        <a:lstStyle/>
        <a:p>
          <a:endParaRPr lang="en-US"/>
        </a:p>
      </dgm:t>
    </dgm:pt>
    <dgm:pt modelId="{F964B85D-8C4F-4755-AC97-89AB691B3840}">
      <dgm:prSet/>
      <dgm:spPr>
        <a:ln>
          <a:solidFill>
            <a:schemeClr val="tx1"/>
          </a:solidFill>
        </a:ln>
      </dgm:spPr>
      <dgm:t>
        <a:bodyPr/>
        <a:lstStyle/>
        <a:p>
          <a:r>
            <a:rPr lang="en-US" dirty="0" smtClean="0"/>
            <a:t>TBD</a:t>
          </a:r>
          <a:endParaRPr lang="en-US" dirty="0">
            <a:solidFill>
              <a:schemeClr val="tx1"/>
            </a:solidFill>
          </a:endParaRPr>
        </a:p>
      </dgm:t>
    </dgm:pt>
    <dgm:pt modelId="{ECAC3D84-907A-42F7-A41E-8BB5C91BF7AD}" type="parTrans" cxnId="{45431FA2-F364-4F9A-A460-8954B05F008B}">
      <dgm:prSet/>
      <dgm:spPr/>
      <dgm:t>
        <a:bodyPr/>
        <a:lstStyle/>
        <a:p>
          <a:endParaRPr lang="en-US"/>
        </a:p>
      </dgm:t>
    </dgm:pt>
    <dgm:pt modelId="{8CC9DA93-4F27-450E-8D1F-313506B27D99}" type="sibTrans" cxnId="{45431FA2-F364-4F9A-A460-8954B05F008B}">
      <dgm:prSet/>
      <dgm:spPr/>
      <dgm:t>
        <a:bodyPr/>
        <a:lstStyle/>
        <a:p>
          <a:endParaRPr lang="en-US"/>
        </a:p>
      </dgm:t>
    </dgm:pt>
    <dgm:pt modelId="{40567201-8248-4F48-A0B6-955A69CDDEDE}">
      <dgm:prSet/>
      <dgm:spPr>
        <a:solidFill>
          <a:schemeClr val="bg1">
            <a:alpha val="90000"/>
          </a:schemeClr>
        </a:solidFill>
        <a:ln>
          <a:solidFill>
            <a:schemeClr val="tx1"/>
          </a:solidFill>
        </a:ln>
      </dgm:spPr>
      <dgm:t>
        <a:bodyPr/>
        <a:lstStyle/>
        <a:p>
          <a:r>
            <a:rPr lang="en-US" dirty="0" smtClean="0"/>
            <a:t>TBD</a:t>
          </a:r>
          <a:endParaRPr lang="en-US" dirty="0" smtClean="0">
            <a:solidFill>
              <a:schemeClr val="tx1"/>
            </a:solidFill>
          </a:endParaRPr>
        </a:p>
      </dgm:t>
    </dgm:pt>
    <dgm:pt modelId="{06CDB963-09E3-4F3A-8CDB-99F0C8BFEF26}" type="sibTrans" cxnId="{484F4FC4-2D7A-4429-8731-716D7B0F025D}">
      <dgm:prSet/>
      <dgm:spPr/>
      <dgm:t>
        <a:bodyPr/>
        <a:lstStyle/>
        <a:p>
          <a:endParaRPr lang="en-US"/>
        </a:p>
      </dgm:t>
    </dgm:pt>
    <dgm:pt modelId="{2C581B89-1F93-4B33-9A86-B01F2B1C5BE8}" type="parTrans" cxnId="{484F4FC4-2D7A-4429-8731-716D7B0F025D}">
      <dgm:prSet/>
      <dgm:spPr/>
      <dgm:t>
        <a:bodyPr/>
        <a:lstStyle/>
        <a:p>
          <a:endParaRPr lang="en-US"/>
        </a:p>
      </dgm:t>
    </dgm:pt>
    <dgm:pt modelId="{E090CD23-328F-41EE-B5CE-866A78F11B20}" type="pres">
      <dgm:prSet presAssocID="{FF6E20E5-3D93-4A8D-A90F-D305FC614F03}" presName="hierChild1" presStyleCnt="0">
        <dgm:presLayoutVars>
          <dgm:chPref val="1"/>
          <dgm:dir/>
          <dgm:animOne val="branch"/>
          <dgm:animLvl val="lvl"/>
          <dgm:resizeHandles/>
        </dgm:presLayoutVars>
      </dgm:prSet>
      <dgm:spPr/>
      <dgm:t>
        <a:bodyPr/>
        <a:lstStyle/>
        <a:p>
          <a:endParaRPr lang="en-US"/>
        </a:p>
      </dgm:t>
    </dgm:pt>
    <dgm:pt modelId="{801546B8-36CD-4B29-9C85-7032C52684C6}" type="pres">
      <dgm:prSet presAssocID="{69C91DDE-88CA-49DB-9846-F9E6645ABBA5}" presName="hierRoot1" presStyleCnt="0"/>
      <dgm:spPr/>
    </dgm:pt>
    <dgm:pt modelId="{C5B5633B-0E77-4BD7-8206-F9C93BA7CAFD}" type="pres">
      <dgm:prSet presAssocID="{69C91DDE-88CA-49DB-9846-F9E6645ABBA5}" presName="composite" presStyleCnt="0"/>
      <dgm:spPr/>
    </dgm:pt>
    <dgm:pt modelId="{1A3BB434-144C-42D3-A920-45EE99F7C111}" type="pres">
      <dgm:prSet presAssocID="{69C91DDE-88CA-49DB-9846-F9E6645ABBA5}" presName="background" presStyleLbl="node0" presStyleIdx="0" presStyleCnt="1"/>
      <dgm:spPr>
        <a:noFill/>
        <a:ln>
          <a:noFill/>
        </a:ln>
      </dgm:spPr>
      <dgm:t>
        <a:bodyPr/>
        <a:lstStyle/>
        <a:p>
          <a:endParaRPr kumimoji="1" lang="ja-JP" altLang="en-US"/>
        </a:p>
      </dgm:t>
    </dgm:pt>
    <dgm:pt modelId="{54BB0897-435A-4182-A73D-9EF92FE85BEA}" type="pres">
      <dgm:prSet presAssocID="{69C91DDE-88CA-49DB-9846-F9E6645ABBA5}" presName="text" presStyleLbl="fgAcc0" presStyleIdx="0" presStyleCnt="1" custScaleY="91959" custLinFactX="-200000" custLinFactY="-27099" custLinFactNeighborX="-228017" custLinFactNeighborY="-100000">
        <dgm:presLayoutVars>
          <dgm:chPref val="3"/>
        </dgm:presLayoutVars>
      </dgm:prSet>
      <dgm:spPr/>
      <dgm:t>
        <a:bodyPr/>
        <a:lstStyle/>
        <a:p>
          <a:endParaRPr lang="en-US"/>
        </a:p>
      </dgm:t>
    </dgm:pt>
    <dgm:pt modelId="{1D33DDBD-3853-430E-8D6E-77CFA0B4A782}" type="pres">
      <dgm:prSet presAssocID="{69C91DDE-88CA-49DB-9846-F9E6645ABBA5}" presName="hierChild2" presStyleCnt="0"/>
      <dgm:spPr/>
    </dgm:pt>
    <dgm:pt modelId="{8E9DC07F-E033-43B0-8258-D58E80785942}" type="pres">
      <dgm:prSet presAssocID="{AFC37CE7-0CC9-46E3-A588-5B8B5258B90C}" presName="Name10" presStyleLbl="parChTrans1D2" presStyleIdx="0" presStyleCnt="4"/>
      <dgm:spPr/>
      <dgm:t>
        <a:bodyPr/>
        <a:lstStyle/>
        <a:p>
          <a:endParaRPr lang="en-US"/>
        </a:p>
      </dgm:t>
    </dgm:pt>
    <dgm:pt modelId="{6326AB89-6241-4CD7-871D-2B3C856BBDF4}" type="pres">
      <dgm:prSet presAssocID="{C7238D4C-BC2F-4DF6-A368-934877DE14C9}" presName="hierRoot2" presStyleCnt="0"/>
      <dgm:spPr/>
    </dgm:pt>
    <dgm:pt modelId="{8295B923-4FF1-4F79-B2FC-50F77AEB866D}" type="pres">
      <dgm:prSet presAssocID="{C7238D4C-BC2F-4DF6-A368-934877DE14C9}" presName="composite2" presStyleCnt="0"/>
      <dgm:spPr/>
    </dgm:pt>
    <dgm:pt modelId="{0BBCDA06-0BF9-4FBE-B11E-38C841255EC6}" type="pres">
      <dgm:prSet presAssocID="{C7238D4C-BC2F-4DF6-A368-934877DE14C9}" presName="background2" presStyleLbl="node2" presStyleIdx="0" presStyleCnt="4"/>
      <dgm:spPr>
        <a:noFill/>
        <a:ln>
          <a:noFill/>
        </a:ln>
      </dgm:spPr>
      <dgm:t>
        <a:bodyPr/>
        <a:lstStyle/>
        <a:p>
          <a:endParaRPr kumimoji="1" lang="ja-JP" altLang="en-US"/>
        </a:p>
      </dgm:t>
    </dgm:pt>
    <dgm:pt modelId="{2606E750-46A8-4869-B281-8E1BD85378BC}" type="pres">
      <dgm:prSet presAssocID="{C7238D4C-BC2F-4DF6-A368-934877DE14C9}" presName="text2" presStyleLbl="fgAcc2" presStyleIdx="0" presStyleCnt="4" custLinFactX="-100000" custLinFactNeighborX="-144684" custLinFactNeighborY="-72433">
        <dgm:presLayoutVars>
          <dgm:chPref val="3"/>
        </dgm:presLayoutVars>
      </dgm:prSet>
      <dgm:spPr/>
      <dgm:t>
        <a:bodyPr/>
        <a:lstStyle/>
        <a:p>
          <a:endParaRPr lang="en-US"/>
        </a:p>
      </dgm:t>
    </dgm:pt>
    <dgm:pt modelId="{ADEA6673-492D-46EF-BEE5-3787330E1A6E}" type="pres">
      <dgm:prSet presAssocID="{C7238D4C-BC2F-4DF6-A368-934877DE14C9}" presName="hierChild3" presStyleCnt="0"/>
      <dgm:spPr/>
    </dgm:pt>
    <dgm:pt modelId="{392959BB-1D47-420A-B581-A0FA92F5DC1F}" type="pres">
      <dgm:prSet presAssocID="{D1BF2D42-698C-46DF-B869-4ED39691EADA}" presName="Name17" presStyleLbl="parChTrans1D3" presStyleIdx="0" presStyleCnt="5"/>
      <dgm:spPr/>
      <dgm:t>
        <a:bodyPr/>
        <a:lstStyle/>
        <a:p>
          <a:endParaRPr lang="en-US"/>
        </a:p>
      </dgm:t>
    </dgm:pt>
    <dgm:pt modelId="{F58EB33B-E090-47A5-BD5C-9227E0C70622}" type="pres">
      <dgm:prSet presAssocID="{88FE8190-AEC8-4591-B729-6A428370E93C}" presName="hierRoot3" presStyleCnt="0"/>
      <dgm:spPr/>
    </dgm:pt>
    <dgm:pt modelId="{0D474CF9-EED6-41F0-A976-4AE6931E8C56}" type="pres">
      <dgm:prSet presAssocID="{88FE8190-AEC8-4591-B729-6A428370E93C}" presName="composite3" presStyleCnt="0"/>
      <dgm:spPr/>
    </dgm:pt>
    <dgm:pt modelId="{9BD99A68-B722-4C3B-911F-3E2DFFBFC4C2}" type="pres">
      <dgm:prSet presAssocID="{88FE8190-AEC8-4591-B729-6A428370E93C}" presName="background3" presStyleLbl="node3" presStyleIdx="0" presStyleCnt="5"/>
      <dgm:spPr>
        <a:noFill/>
        <a:ln>
          <a:noFill/>
        </a:ln>
      </dgm:spPr>
      <dgm:t>
        <a:bodyPr/>
        <a:lstStyle/>
        <a:p>
          <a:endParaRPr lang="en-US"/>
        </a:p>
      </dgm:t>
    </dgm:pt>
    <dgm:pt modelId="{EA48756A-E278-442A-8F48-17BDA6B1A72F}" type="pres">
      <dgm:prSet presAssocID="{88FE8190-AEC8-4591-B729-6A428370E93C}" presName="text3" presStyleLbl="fgAcc3" presStyleIdx="0" presStyleCnt="5" custLinFactNeighborX="-329" custLinFactNeighborY="12154">
        <dgm:presLayoutVars>
          <dgm:chPref val="3"/>
        </dgm:presLayoutVars>
      </dgm:prSet>
      <dgm:spPr/>
      <dgm:t>
        <a:bodyPr/>
        <a:lstStyle/>
        <a:p>
          <a:endParaRPr lang="en-US"/>
        </a:p>
      </dgm:t>
    </dgm:pt>
    <dgm:pt modelId="{B261FEAB-31BB-4064-B23B-946779C53953}" type="pres">
      <dgm:prSet presAssocID="{88FE8190-AEC8-4591-B729-6A428370E93C}" presName="hierChild4" presStyleCnt="0"/>
      <dgm:spPr/>
    </dgm:pt>
    <dgm:pt modelId="{00BF0632-91B3-4C51-B4B2-CD13635E0DCD}" type="pres">
      <dgm:prSet presAssocID="{FF5A00B2-0524-4664-8DD7-242D9C7A9E2C}" presName="Name17" presStyleLbl="parChTrans1D3" presStyleIdx="1" presStyleCnt="5"/>
      <dgm:spPr/>
      <dgm:t>
        <a:bodyPr/>
        <a:lstStyle/>
        <a:p>
          <a:endParaRPr lang="en-US"/>
        </a:p>
      </dgm:t>
    </dgm:pt>
    <dgm:pt modelId="{F7C9088E-5C5D-479E-B18C-5E60127A95C7}" type="pres">
      <dgm:prSet presAssocID="{23687D99-0756-41CB-B2F4-DE64F54EA740}" presName="hierRoot3" presStyleCnt="0"/>
      <dgm:spPr/>
    </dgm:pt>
    <dgm:pt modelId="{B531D14B-83B5-4CBB-B67A-8199E4992399}" type="pres">
      <dgm:prSet presAssocID="{23687D99-0756-41CB-B2F4-DE64F54EA740}" presName="composite3" presStyleCnt="0"/>
      <dgm:spPr/>
    </dgm:pt>
    <dgm:pt modelId="{5B5C6077-85B6-4345-8CEB-5A4674612052}" type="pres">
      <dgm:prSet presAssocID="{23687D99-0756-41CB-B2F4-DE64F54EA740}" presName="background3" presStyleLbl="node3" presStyleIdx="1" presStyleCnt="5"/>
      <dgm:spPr>
        <a:noFill/>
        <a:ln>
          <a:noFill/>
        </a:ln>
      </dgm:spPr>
      <dgm:t>
        <a:bodyPr/>
        <a:lstStyle/>
        <a:p>
          <a:endParaRPr lang="en-US"/>
        </a:p>
      </dgm:t>
    </dgm:pt>
    <dgm:pt modelId="{2C028FC8-DE3E-4E0F-BD64-D310A1A162FF}" type="pres">
      <dgm:prSet presAssocID="{23687D99-0756-41CB-B2F4-DE64F54EA740}" presName="text3" presStyleLbl="fgAcc3" presStyleIdx="1" presStyleCnt="5" custScaleX="100000" custLinFactNeighborX="-8021" custLinFactNeighborY="12154">
        <dgm:presLayoutVars>
          <dgm:chPref val="3"/>
        </dgm:presLayoutVars>
      </dgm:prSet>
      <dgm:spPr/>
      <dgm:t>
        <a:bodyPr/>
        <a:lstStyle/>
        <a:p>
          <a:endParaRPr lang="en-US"/>
        </a:p>
      </dgm:t>
    </dgm:pt>
    <dgm:pt modelId="{A3ACB2D7-DCFC-4902-8DB5-507BB88B983E}" type="pres">
      <dgm:prSet presAssocID="{23687D99-0756-41CB-B2F4-DE64F54EA740}" presName="hierChild4" presStyleCnt="0"/>
      <dgm:spPr/>
    </dgm:pt>
    <dgm:pt modelId="{24D79437-7718-458C-B66E-AFF520BA0814}" type="pres">
      <dgm:prSet presAssocID="{22D4C968-E4BF-48B4-9FD5-DA20AED80F31}" presName="Name17" presStyleLbl="parChTrans1D3" presStyleIdx="2" presStyleCnt="5"/>
      <dgm:spPr/>
      <dgm:t>
        <a:bodyPr/>
        <a:lstStyle/>
        <a:p>
          <a:endParaRPr lang="en-US"/>
        </a:p>
      </dgm:t>
    </dgm:pt>
    <dgm:pt modelId="{27ED9D2A-C5FE-4426-A154-C2790AF75C92}" type="pres">
      <dgm:prSet presAssocID="{E7456A57-5A01-4C86-8E21-C0083023FA4F}" presName="hierRoot3" presStyleCnt="0"/>
      <dgm:spPr/>
    </dgm:pt>
    <dgm:pt modelId="{B58A6A9C-5F60-488B-B046-94EB3B16E6AC}" type="pres">
      <dgm:prSet presAssocID="{E7456A57-5A01-4C86-8E21-C0083023FA4F}" presName="composite3" presStyleCnt="0"/>
      <dgm:spPr/>
    </dgm:pt>
    <dgm:pt modelId="{0D52FF9B-E7DF-466B-A79D-D906C161963C}" type="pres">
      <dgm:prSet presAssocID="{E7456A57-5A01-4C86-8E21-C0083023FA4F}" presName="background3" presStyleLbl="node3" presStyleIdx="2" presStyleCnt="5"/>
      <dgm:spPr>
        <a:noFill/>
        <a:ln>
          <a:noFill/>
        </a:ln>
      </dgm:spPr>
      <dgm:t>
        <a:bodyPr/>
        <a:lstStyle/>
        <a:p>
          <a:endParaRPr lang="en-US"/>
        </a:p>
      </dgm:t>
    </dgm:pt>
    <dgm:pt modelId="{AFF5C80F-5695-4AF1-83C6-B0B69D681EC7}" type="pres">
      <dgm:prSet presAssocID="{E7456A57-5A01-4C86-8E21-C0083023FA4F}" presName="text3" presStyleLbl="fgAcc3" presStyleIdx="2" presStyleCnt="5" custLinFactNeighborX="-17190" custLinFactNeighborY="12154">
        <dgm:presLayoutVars>
          <dgm:chPref val="3"/>
        </dgm:presLayoutVars>
      </dgm:prSet>
      <dgm:spPr/>
      <dgm:t>
        <a:bodyPr/>
        <a:lstStyle/>
        <a:p>
          <a:endParaRPr lang="en-US"/>
        </a:p>
      </dgm:t>
    </dgm:pt>
    <dgm:pt modelId="{D3A8C1C6-5F07-4B61-B229-0FC7485B2A03}" type="pres">
      <dgm:prSet presAssocID="{E7456A57-5A01-4C86-8E21-C0083023FA4F}" presName="hierChild4" presStyleCnt="0"/>
      <dgm:spPr/>
    </dgm:pt>
    <dgm:pt modelId="{F980F883-D5A7-4F9B-B8D2-11C12E83A991}" type="pres">
      <dgm:prSet presAssocID="{CE7EF9F4-B374-4F73-835D-C30A00FF647C}" presName="Name17" presStyleLbl="parChTrans1D3" presStyleIdx="3" presStyleCnt="5"/>
      <dgm:spPr/>
      <dgm:t>
        <a:bodyPr/>
        <a:lstStyle/>
        <a:p>
          <a:endParaRPr lang="en-US"/>
        </a:p>
      </dgm:t>
    </dgm:pt>
    <dgm:pt modelId="{1A7FB802-AB81-43C8-99C5-980ADB381738}" type="pres">
      <dgm:prSet presAssocID="{C11B0AA8-BE51-4481-B951-D189911F5DD7}" presName="hierRoot3" presStyleCnt="0"/>
      <dgm:spPr/>
    </dgm:pt>
    <dgm:pt modelId="{37163F50-B995-4E51-B5D2-5EEA7192C225}" type="pres">
      <dgm:prSet presAssocID="{C11B0AA8-BE51-4481-B951-D189911F5DD7}" presName="composite3" presStyleCnt="0"/>
      <dgm:spPr/>
    </dgm:pt>
    <dgm:pt modelId="{A64D08B1-090A-424D-9C7A-3AD22AA57FB2}" type="pres">
      <dgm:prSet presAssocID="{C11B0AA8-BE51-4481-B951-D189911F5DD7}" presName="background3" presStyleLbl="node3" presStyleIdx="3" presStyleCnt="5"/>
      <dgm:spPr>
        <a:noFill/>
        <a:ln>
          <a:noFill/>
        </a:ln>
      </dgm:spPr>
      <dgm:t>
        <a:bodyPr/>
        <a:lstStyle/>
        <a:p>
          <a:endParaRPr lang="en-US"/>
        </a:p>
      </dgm:t>
    </dgm:pt>
    <dgm:pt modelId="{B400B699-7F73-4455-B893-E2D3386061F6}" type="pres">
      <dgm:prSet presAssocID="{C11B0AA8-BE51-4481-B951-D189911F5DD7}" presName="text3" presStyleLbl="fgAcc3" presStyleIdx="3" presStyleCnt="5" custLinFactNeighborX="-25212" custLinFactNeighborY="12154">
        <dgm:presLayoutVars>
          <dgm:chPref val="3"/>
        </dgm:presLayoutVars>
      </dgm:prSet>
      <dgm:spPr/>
      <dgm:t>
        <a:bodyPr/>
        <a:lstStyle/>
        <a:p>
          <a:endParaRPr lang="en-US"/>
        </a:p>
      </dgm:t>
    </dgm:pt>
    <dgm:pt modelId="{6B79A28A-1B66-4843-8C4C-8324B4A3F8A5}" type="pres">
      <dgm:prSet presAssocID="{C11B0AA8-BE51-4481-B951-D189911F5DD7}" presName="hierChild4" presStyleCnt="0"/>
      <dgm:spPr/>
    </dgm:pt>
    <dgm:pt modelId="{0B87E6BE-68D8-4C19-A67A-F015149E602F}" type="pres">
      <dgm:prSet presAssocID="{2C581B89-1F93-4B33-9A86-B01F2B1C5BE8}" presName="Name17" presStyleLbl="parChTrans1D3" presStyleIdx="4" presStyleCnt="5"/>
      <dgm:spPr/>
      <dgm:t>
        <a:bodyPr/>
        <a:lstStyle/>
        <a:p>
          <a:endParaRPr lang="en-US"/>
        </a:p>
      </dgm:t>
    </dgm:pt>
    <dgm:pt modelId="{6DAE7063-FA56-4462-A025-CE3A5A35980C}" type="pres">
      <dgm:prSet presAssocID="{40567201-8248-4F48-A0B6-955A69CDDEDE}" presName="hierRoot3" presStyleCnt="0"/>
      <dgm:spPr/>
    </dgm:pt>
    <dgm:pt modelId="{85979E30-6A8A-49B1-81C2-220E2F63684A}" type="pres">
      <dgm:prSet presAssocID="{40567201-8248-4F48-A0B6-955A69CDDEDE}" presName="composite3" presStyleCnt="0"/>
      <dgm:spPr/>
    </dgm:pt>
    <dgm:pt modelId="{089845FB-757F-4893-9BF4-B2E2B8216917}" type="pres">
      <dgm:prSet presAssocID="{40567201-8248-4F48-A0B6-955A69CDDEDE}" presName="background3" presStyleLbl="node3" presStyleIdx="4" presStyleCnt="5"/>
      <dgm:spPr>
        <a:noFill/>
        <a:ln>
          <a:noFill/>
        </a:ln>
      </dgm:spPr>
      <dgm:t>
        <a:bodyPr/>
        <a:lstStyle/>
        <a:p>
          <a:endParaRPr lang="en-US"/>
        </a:p>
      </dgm:t>
    </dgm:pt>
    <dgm:pt modelId="{A2169F17-330B-4137-A703-0CC9D8D0474D}" type="pres">
      <dgm:prSet presAssocID="{40567201-8248-4F48-A0B6-955A69CDDEDE}" presName="text3" presStyleLbl="fgAcc3" presStyleIdx="4" presStyleCnt="5" custLinFactNeighborX="-34080" custLinFactNeighborY="12154">
        <dgm:presLayoutVars>
          <dgm:chPref val="3"/>
        </dgm:presLayoutVars>
      </dgm:prSet>
      <dgm:spPr/>
      <dgm:t>
        <a:bodyPr/>
        <a:lstStyle/>
        <a:p>
          <a:endParaRPr lang="en-US"/>
        </a:p>
      </dgm:t>
    </dgm:pt>
    <dgm:pt modelId="{E936DFD3-0D69-48EB-91EF-BF4A33D9511D}" type="pres">
      <dgm:prSet presAssocID="{40567201-8248-4F48-A0B6-955A69CDDEDE}" presName="hierChild4" presStyleCnt="0"/>
      <dgm:spPr/>
    </dgm:pt>
    <dgm:pt modelId="{C726599B-89B2-4557-A5B0-D42C86C5CC02}" type="pres">
      <dgm:prSet presAssocID="{0643E980-8479-42B6-931B-C0B6A279A574}" presName="Name10" presStyleLbl="parChTrans1D2" presStyleIdx="1" presStyleCnt="4"/>
      <dgm:spPr/>
      <dgm:t>
        <a:bodyPr/>
        <a:lstStyle/>
        <a:p>
          <a:endParaRPr lang="en-US"/>
        </a:p>
      </dgm:t>
    </dgm:pt>
    <dgm:pt modelId="{C6CC7070-DD40-4AF9-84F9-C58FE0754FA4}" type="pres">
      <dgm:prSet presAssocID="{284D845A-6F41-4B25-B9B5-60D667B8B482}" presName="hierRoot2" presStyleCnt="0"/>
      <dgm:spPr/>
    </dgm:pt>
    <dgm:pt modelId="{754A1213-EFFE-4A92-B4B4-780C6B61FC78}" type="pres">
      <dgm:prSet presAssocID="{284D845A-6F41-4B25-B9B5-60D667B8B482}" presName="composite2" presStyleCnt="0"/>
      <dgm:spPr/>
    </dgm:pt>
    <dgm:pt modelId="{69CAF112-D190-4FAF-B946-AE4D093272D9}" type="pres">
      <dgm:prSet presAssocID="{284D845A-6F41-4B25-B9B5-60D667B8B482}" presName="background2" presStyleLbl="node2" presStyleIdx="1" presStyleCnt="4"/>
      <dgm:spPr>
        <a:noFill/>
        <a:ln>
          <a:noFill/>
        </a:ln>
      </dgm:spPr>
      <dgm:t>
        <a:bodyPr/>
        <a:lstStyle/>
        <a:p>
          <a:endParaRPr lang="en-US"/>
        </a:p>
      </dgm:t>
    </dgm:pt>
    <dgm:pt modelId="{319C80DB-7E1A-45D9-96E3-43922431EAE5}" type="pres">
      <dgm:prSet presAssocID="{284D845A-6F41-4B25-B9B5-60D667B8B482}" presName="text2" presStyleLbl="fgAcc2" presStyleIdx="1" presStyleCnt="4" custAng="0" custLinFactNeighborX="11778" custLinFactNeighborY="-72433">
        <dgm:presLayoutVars>
          <dgm:chPref val="3"/>
        </dgm:presLayoutVars>
      </dgm:prSet>
      <dgm:spPr/>
      <dgm:t>
        <a:bodyPr/>
        <a:lstStyle/>
        <a:p>
          <a:endParaRPr lang="en-US"/>
        </a:p>
      </dgm:t>
    </dgm:pt>
    <dgm:pt modelId="{38FA15C4-702D-4727-99BA-861BFFA02670}" type="pres">
      <dgm:prSet presAssocID="{284D845A-6F41-4B25-B9B5-60D667B8B482}" presName="hierChild3" presStyleCnt="0"/>
      <dgm:spPr/>
    </dgm:pt>
    <dgm:pt modelId="{59CAC2E1-5B63-45FE-AD54-AD2E829D3783}" type="pres">
      <dgm:prSet presAssocID="{491CF3C7-08AF-44E7-B9A8-CC62F00D2B6E}" presName="Name10" presStyleLbl="parChTrans1D2" presStyleIdx="2" presStyleCnt="4"/>
      <dgm:spPr/>
      <dgm:t>
        <a:bodyPr/>
        <a:lstStyle/>
        <a:p>
          <a:endParaRPr lang="en-US"/>
        </a:p>
      </dgm:t>
    </dgm:pt>
    <dgm:pt modelId="{99AE5E4D-04BB-4937-A35E-20266ACBF0D3}" type="pres">
      <dgm:prSet presAssocID="{78B00FE9-0724-4F42-8441-07313B879EED}" presName="hierRoot2" presStyleCnt="0"/>
      <dgm:spPr/>
    </dgm:pt>
    <dgm:pt modelId="{3BADE19F-6BD0-4905-A9A3-7FB90D3B0166}" type="pres">
      <dgm:prSet presAssocID="{78B00FE9-0724-4F42-8441-07313B879EED}" presName="composite2" presStyleCnt="0"/>
      <dgm:spPr/>
    </dgm:pt>
    <dgm:pt modelId="{11C5C38A-C8D5-4768-B77B-A4CBAFF48AAC}" type="pres">
      <dgm:prSet presAssocID="{78B00FE9-0724-4F42-8441-07313B879EED}" presName="background2" presStyleLbl="node2" presStyleIdx="2" presStyleCnt="4"/>
      <dgm:spPr>
        <a:noFill/>
        <a:ln>
          <a:noFill/>
        </a:ln>
      </dgm:spPr>
      <dgm:t>
        <a:bodyPr/>
        <a:lstStyle/>
        <a:p>
          <a:endParaRPr lang="en-US"/>
        </a:p>
      </dgm:t>
    </dgm:pt>
    <dgm:pt modelId="{5EB0AEEE-9889-4599-8082-2ECBABF9D806}" type="pres">
      <dgm:prSet presAssocID="{78B00FE9-0724-4F42-8441-07313B879EED}" presName="text2" presStyleLbl="fgAcc2" presStyleIdx="2" presStyleCnt="4" custLinFactNeighborX="3693" custLinFactNeighborY="-72433">
        <dgm:presLayoutVars>
          <dgm:chPref val="3"/>
        </dgm:presLayoutVars>
      </dgm:prSet>
      <dgm:spPr/>
      <dgm:t>
        <a:bodyPr/>
        <a:lstStyle/>
        <a:p>
          <a:endParaRPr lang="en-US"/>
        </a:p>
      </dgm:t>
    </dgm:pt>
    <dgm:pt modelId="{7F26A6F5-2DD2-4CFE-A84A-A33CE88D0A46}" type="pres">
      <dgm:prSet presAssocID="{78B00FE9-0724-4F42-8441-07313B879EED}" presName="hierChild3" presStyleCnt="0"/>
      <dgm:spPr/>
    </dgm:pt>
    <dgm:pt modelId="{711CE914-A18A-416C-A8BA-91CE11D5571D}" type="pres">
      <dgm:prSet presAssocID="{ECAC3D84-907A-42F7-A41E-8BB5C91BF7AD}" presName="Name10" presStyleLbl="parChTrans1D2" presStyleIdx="3" presStyleCnt="4"/>
      <dgm:spPr/>
      <dgm:t>
        <a:bodyPr/>
        <a:lstStyle/>
        <a:p>
          <a:endParaRPr lang="en-US"/>
        </a:p>
      </dgm:t>
    </dgm:pt>
    <dgm:pt modelId="{CB77A4C7-7A8A-48AD-B3A1-84D4A2B64442}" type="pres">
      <dgm:prSet presAssocID="{F964B85D-8C4F-4755-AC97-89AB691B3840}" presName="hierRoot2" presStyleCnt="0"/>
      <dgm:spPr/>
    </dgm:pt>
    <dgm:pt modelId="{BDB37DCA-F498-4957-ADEC-90CBC5901A49}" type="pres">
      <dgm:prSet presAssocID="{F964B85D-8C4F-4755-AC97-89AB691B3840}" presName="composite2" presStyleCnt="0"/>
      <dgm:spPr/>
    </dgm:pt>
    <dgm:pt modelId="{49870387-890B-4501-AF3D-E363268D269E}" type="pres">
      <dgm:prSet presAssocID="{F964B85D-8C4F-4755-AC97-89AB691B3840}" presName="background2" presStyleLbl="node2" presStyleIdx="3" presStyleCnt="4"/>
      <dgm:spPr>
        <a:noFill/>
        <a:ln>
          <a:noFill/>
        </a:ln>
      </dgm:spPr>
      <dgm:t>
        <a:bodyPr/>
        <a:lstStyle/>
        <a:p>
          <a:endParaRPr lang="en-US"/>
        </a:p>
      </dgm:t>
    </dgm:pt>
    <dgm:pt modelId="{64C1A19F-958C-4693-88AD-7ADC99FAD45E}" type="pres">
      <dgm:prSet presAssocID="{F964B85D-8C4F-4755-AC97-89AB691B3840}" presName="text2" presStyleLbl="fgAcc2" presStyleIdx="3" presStyleCnt="4" custLinFactNeighborX="-5059" custLinFactNeighborY="-72175">
        <dgm:presLayoutVars>
          <dgm:chPref val="3"/>
        </dgm:presLayoutVars>
      </dgm:prSet>
      <dgm:spPr/>
      <dgm:t>
        <a:bodyPr/>
        <a:lstStyle/>
        <a:p>
          <a:endParaRPr lang="en-US"/>
        </a:p>
      </dgm:t>
    </dgm:pt>
    <dgm:pt modelId="{0BC5BA6A-9CCB-486F-82CD-AFA4B962DB7F}" type="pres">
      <dgm:prSet presAssocID="{F964B85D-8C4F-4755-AC97-89AB691B3840}" presName="hierChild3" presStyleCnt="0"/>
      <dgm:spPr/>
    </dgm:pt>
  </dgm:ptLst>
  <dgm:cxnLst>
    <dgm:cxn modelId="{D8BD3539-2392-4E86-9639-2291CA9B21B7}" srcId="{FF6E20E5-3D93-4A8D-A90F-D305FC614F03}" destId="{69C91DDE-88CA-49DB-9846-F9E6645ABBA5}" srcOrd="0" destOrd="0" parTransId="{2FBEA1C4-CD51-455E-849A-04BB70AEFAAF}" sibTransId="{B5AEEACD-CDFB-40DB-8048-293ACFD659EB}"/>
    <dgm:cxn modelId="{FDCD35A6-8054-487C-961A-95FC1C850771}" type="presOf" srcId="{2C581B89-1F93-4B33-9A86-B01F2B1C5BE8}" destId="{0B87E6BE-68D8-4C19-A67A-F015149E602F}" srcOrd="0" destOrd="0" presId="urn:microsoft.com/office/officeart/2005/8/layout/hierarchy1"/>
    <dgm:cxn modelId="{2A90DAEC-E586-4E8E-B7FE-4EC68094812F}" type="presOf" srcId="{CE7EF9F4-B374-4F73-835D-C30A00FF647C}" destId="{F980F883-D5A7-4F9B-B8D2-11C12E83A991}" srcOrd="0" destOrd="0" presId="urn:microsoft.com/office/officeart/2005/8/layout/hierarchy1"/>
    <dgm:cxn modelId="{A06CA27E-DBA0-438F-9C9A-795AA4F195F6}" type="presOf" srcId="{C11B0AA8-BE51-4481-B951-D189911F5DD7}" destId="{B400B699-7F73-4455-B893-E2D3386061F6}" srcOrd="0" destOrd="0" presId="urn:microsoft.com/office/officeart/2005/8/layout/hierarchy1"/>
    <dgm:cxn modelId="{629DEB84-DED0-407B-8011-C1B267749456}" srcId="{69C91DDE-88CA-49DB-9846-F9E6645ABBA5}" destId="{284D845A-6F41-4B25-B9B5-60D667B8B482}" srcOrd="1" destOrd="0" parTransId="{0643E980-8479-42B6-931B-C0B6A279A574}" sibTransId="{2A88A4A4-3F65-40BD-BD48-BA8841CFCA6B}"/>
    <dgm:cxn modelId="{D1010409-A23D-4C92-B12A-4872D051BF13}" type="presOf" srcId="{69C91DDE-88CA-49DB-9846-F9E6645ABBA5}" destId="{54BB0897-435A-4182-A73D-9EF92FE85BEA}" srcOrd="0" destOrd="0" presId="urn:microsoft.com/office/officeart/2005/8/layout/hierarchy1"/>
    <dgm:cxn modelId="{8FE55545-ECD1-485A-A902-51D19E3E831D}" type="presOf" srcId="{FF6E20E5-3D93-4A8D-A90F-D305FC614F03}" destId="{E090CD23-328F-41EE-B5CE-866A78F11B20}" srcOrd="0" destOrd="0" presId="urn:microsoft.com/office/officeart/2005/8/layout/hierarchy1"/>
    <dgm:cxn modelId="{D939E29E-A14B-4003-9A31-05F4963C3FC3}" srcId="{C7238D4C-BC2F-4DF6-A368-934877DE14C9}" destId="{C11B0AA8-BE51-4481-B951-D189911F5DD7}" srcOrd="3" destOrd="0" parTransId="{CE7EF9F4-B374-4F73-835D-C30A00FF647C}" sibTransId="{2675146A-920B-45E1-8694-581BAEAF6640}"/>
    <dgm:cxn modelId="{2566CFE2-8C70-4080-BAB7-3C1A1895CB46}" type="presOf" srcId="{40567201-8248-4F48-A0B6-955A69CDDEDE}" destId="{A2169F17-330B-4137-A703-0CC9D8D0474D}" srcOrd="0" destOrd="0" presId="urn:microsoft.com/office/officeart/2005/8/layout/hierarchy1"/>
    <dgm:cxn modelId="{93E82B76-3BD7-427E-ADD7-6E7CF78BB281}" type="presOf" srcId="{F964B85D-8C4F-4755-AC97-89AB691B3840}" destId="{64C1A19F-958C-4693-88AD-7ADC99FAD45E}" srcOrd="0" destOrd="0" presId="urn:microsoft.com/office/officeart/2005/8/layout/hierarchy1"/>
    <dgm:cxn modelId="{23A74253-FB4E-4F3A-93F9-3D30165D99A1}" type="presOf" srcId="{23687D99-0756-41CB-B2F4-DE64F54EA740}" destId="{2C028FC8-DE3E-4E0F-BD64-D310A1A162FF}" srcOrd="0" destOrd="0" presId="urn:microsoft.com/office/officeart/2005/8/layout/hierarchy1"/>
    <dgm:cxn modelId="{AC62E213-FB0E-4052-868B-EC1D3C5CE586}" type="presOf" srcId="{C7238D4C-BC2F-4DF6-A368-934877DE14C9}" destId="{2606E750-46A8-4869-B281-8E1BD85378BC}" srcOrd="0" destOrd="0" presId="urn:microsoft.com/office/officeart/2005/8/layout/hierarchy1"/>
    <dgm:cxn modelId="{F106B22A-E545-49E8-B891-09BBAAA65954}" type="presOf" srcId="{22D4C968-E4BF-48B4-9FD5-DA20AED80F31}" destId="{24D79437-7718-458C-B66E-AFF520BA0814}" srcOrd="0" destOrd="0" presId="urn:microsoft.com/office/officeart/2005/8/layout/hierarchy1"/>
    <dgm:cxn modelId="{A2FA8641-8148-45D7-85F4-AF6E4F7124EF}" type="presOf" srcId="{D1BF2D42-698C-46DF-B869-4ED39691EADA}" destId="{392959BB-1D47-420A-B581-A0FA92F5DC1F}" srcOrd="0" destOrd="0" presId="urn:microsoft.com/office/officeart/2005/8/layout/hierarchy1"/>
    <dgm:cxn modelId="{C6B6EB83-AC3B-4D02-B4D2-FA38FC426101}" type="presOf" srcId="{284D845A-6F41-4B25-B9B5-60D667B8B482}" destId="{319C80DB-7E1A-45D9-96E3-43922431EAE5}" srcOrd="0" destOrd="0" presId="urn:microsoft.com/office/officeart/2005/8/layout/hierarchy1"/>
    <dgm:cxn modelId="{BCA797AD-03BF-46D7-BF5A-93529D06B278}" srcId="{C7238D4C-BC2F-4DF6-A368-934877DE14C9}" destId="{88FE8190-AEC8-4591-B729-6A428370E93C}" srcOrd="0" destOrd="0" parTransId="{D1BF2D42-698C-46DF-B869-4ED39691EADA}" sibTransId="{3388ECD9-8441-40B4-A5F2-31DE3DA090EF}"/>
    <dgm:cxn modelId="{3C015343-5336-4122-AF9C-5226821C2941}" srcId="{69C91DDE-88CA-49DB-9846-F9E6645ABBA5}" destId="{C7238D4C-BC2F-4DF6-A368-934877DE14C9}" srcOrd="0" destOrd="0" parTransId="{AFC37CE7-0CC9-46E3-A588-5B8B5258B90C}" sibTransId="{FD52DF73-00C1-4ECF-92FC-847D82AFB0F1}"/>
    <dgm:cxn modelId="{429AD705-20A1-4FB4-AD72-FB34EC2ACAC6}" srcId="{69C91DDE-88CA-49DB-9846-F9E6645ABBA5}" destId="{78B00FE9-0724-4F42-8441-07313B879EED}" srcOrd="2" destOrd="0" parTransId="{491CF3C7-08AF-44E7-B9A8-CC62F00D2B6E}" sibTransId="{5F3A6E4C-1FA5-4009-91E7-640DD1A9C317}"/>
    <dgm:cxn modelId="{3715474F-FB96-4452-8D39-B74C9407D05E}" type="presOf" srcId="{0643E980-8479-42B6-931B-C0B6A279A574}" destId="{C726599B-89B2-4557-A5B0-D42C86C5CC02}" srcOrd="0" destOrd="0" presId="urn:microsoft.com/office/officeart/2005/8/layout/hierarchy1"/>
    <dgm:cxn modelId="{A8BC71B4-2B22-4030-A87B-E2BD2258F12B}" type="presOf" srcId="{FF5A00B2-0524-4664-8DD7-242D9C7A9E2C}" destId="{00BF0632-91B3-4C51-B4B2-CD13635E0DCD}" srcOrd="0" destOrd="0" presId="urn:microsoft.com/office/officeart/2005/8/layout/hierarchy1"/>
    <dgm:cxn modelId="{F8E7A31D-E15E-46C7-BCFA-B9A78B82C81A}" type="presOf" srcId="{491CF3C7-08AF-44E7-B9A8-CC62F00D2B6E}" destId="{59CAC2E1-5B63-45FE-AD54-AD2E829D3783}" srcOrd="0" destOrd="0" presId="urn:microsoft.com/office/officeart/2005/8/layout/hierarchy1"/>
    <dgm:cxn modelId="{4B637973-8C3D-4E33-9365-C2E90624EFE4}" srcId="{C7238D4C-BC2F-4DF6-A368-934877DE14C9}" destId="{23687D99-0756-41CB-B2F4-DE64F54EA740}" srcOrd="1" destOrd="0" parTransId="{FF5A00B2-0524-4664-8DD7-242D9C7A9E2C}" sibTransId="{9C4A88E9-E891-4C6D-BC54-70B3BBB74B19}"/>
    <dgm:cxn modelId="{45431FA2-F364-4F9A-A460-8954B05F008B}" srcId="{69C91DDE-88CA-49DB-9846-F9E6645ABBA5}" destId="{F964B85D-8C4F-4755-AC97-89AB691B3840}" srcOrd="3" destOrd="0" parTransId="{ECAC3D84-907A-42F7-A41E-8BB5C91BF7AD}" sibTransId="{8CC9DA93-4F27-450E-8D1F-313506B27D99}"/>
    <dgm:cxn modelId="{460BCBC9-98A6-4106-B79D-7CFFF1F372FD}" type="presOf" srcId="{E7456A57-5A01-4C86-8E21-C0083023FA4F}" destId="{AFF5C80F-5695-4AF1-83C6-B0B69D681EC7}" srcOrd="0" destOrd="0" presId="urn:microsoft.com/office/officeart/2005/8/layout/hierarchy1"/>
    <dgm:cxn modelId="{F36D6C96-C896-42F0-B464-9EA970278CAF}" type="presOf" srcId="{88FE8190-AEC8-4591-B729-6A428370E93C}" destId="{EA48756A-E278-442A-8F48-17BDA6B1A72F}" srcOrd="0" destOrd="0" presId="urn:microsoft.com/office/officeart/2005/8/layout/hierarchy1"/>
    <dgm:cxn modelId="{ADB4CA5A-742B-4C0A-928B-FFBC62537189}" type="presOf" srcId="{78B00FE9-0724-4F42-8441-07313B879EED}" destId="{5EB0AEEE-9889-4599-8082-2ECBABF9D806}" srcOrd="0" destOrd="0" presId="urn:microsoft.com/office/officeart/2005/8/layout/hierarchy1"/>
    <dgm:cxn modelId="{58CDA654-9BDB-4C59-958F-A9B23E637891}" type="presOf" srcId="{AFC37CE7-0CC9-46E3-A588-5B8B5258B90C}" destId="{8E9DC07F-E033-43B0-8258-D58E80785942}" srcOrd="0" destOrd="0" presId="urn:microsoft.com/office/officeart/2005/8/layout/hierarchy1"/>
    <dgm:cxn modelId="{484F4FC4-2D7A-4429-8731-716D7B0F025D}" srcId="{C7238D4C-BC2F-4DF6-A368-934877DE14C9}" destId="{40567201-8248-4F48-A0B6-955A69CDDEDE}" srcOrd="4" destOrd="0" parTransId="{2C581B89-1F93-4B33-9A86-B01F2B1C5BE8}" sibTransId="{06CDB963-09E3-4F3A-8CDB-99F0C8BFEF26}"/>
    <dgm:cxn modelId="{48234368-1AF2-47FF-90D6-D72C613D72EA}" srcId="{C7238D4C-BC2F-4DF6-A368-934877DE14C9}" destId="{E7456A57-5A01-4C86-8E21-C0083023FA4F}" srcOrd="2" destOrd="0" parTransId="{22D4C968-E4BF-48B4-9FD5-DA20AED80F31}" sibTransId="{70CBEBE8-112B-4BE9-AB93-F6415485AE18}"/>
    <dgm:cxn modelId="{6CCA2774-747F-4E75-88B8-01E5648DAC13}" type="presOf" srcId="{ECAC3D84-907A-42F7-A41E-8BB5C91BF7AD}" destId="{711CE914-A18A-416C-A8BA-91CE11D5571D}" srcOrd="0" destOrd="0" presId="urn:microsoft.com/office/officeart/2005/8/layout/hierarchy1"/>
    <dgm:cxn modelId="{B6006238-3D97-43BB-8141-A9C1E0B13DBE}" type="presParOf" srcId="{E090CD23-328F-41EE-B5CE-866A78F11B20}" destId="{801546B8-36CD-4B29-9C85-7032C52684C6}" srcOrd="0" destOrd="0" presId="urn:microsoft.com/office/officeart/2005/8/layout/hierarchy1"/>
    <dgm:cxn modelId="{85D8F419-EF2F-4DEB-93EF-B6CB5E8BA9E3}" type="presParOf" srcId="{801546B8-36CD-4B29-9C85-7032C52684C6}" destId="{C5B5633B-0E77-4BD7-8206-F9C93BA7CAFD}" srcOrd="0" destOrd="0" presId="urn:microsoft.com/office/officeart/2005/8/layout/hierarchy1"/>
    <dgm:cxn modelId="{1BEA8D3A-8B7F-4746-8292-E4ECE4E6FA32}" type="presParOf" srcId="{C5B5633B-0E77-4BD7-8206-F9C93BA7CAFD}" destId="{1A3BB434-144C-42D3-A920-45EE99F7C111}" srcOrd="0" destOrd="0" presId="urn:microsoft.com/office/officeart/2005/8/layout/hierarchy1"/>
    <dgm:cxn modelId="{CF02B77A-979C-496D-BB1B-3A25026DD6A0}" type="presParOf" srcId="{C5B5633B-0E77-4BD7-8206-F9C93BA7CAFD}" destId="{54BB0897-435A-4182-A73D-9EF92FE85BEA}" srcOrd="1" destOrd="0" presId="urn:microsoft.com/office/officeart/2005/8/layout/hierarchy1"/>
    <dgm:cxn modelId="{D4A3E75C-4AFF-45B4-AB8F-1A0B1C8E9759}" type="presParOf" srcId="{801546B8-36CD-4B29-9C85-7032C52684C6}" destId="{1D33DDBD-3853-430E-8D6E-77CFA0B4A782}" srcOrd="1" destOrd="0" presId="urn:microsoft.com/office/officeart/2005/8/layout/hierarchy1"/>
    <dgm:cxn modelId="{28E5F22E-3172-4C4E-8988-773ACCA37D81}" type="presParOf" srcId="{1D33DDBD-3853-430E-8D6E-77CFA0B4A782}" destId="{8E9DC07F-E033-43B0-8258-D58E80785942}" srcOrd="0" destOrd="0" presId="urn:microsoft.com/office/officeart/2005/8/layout/hierarchy1"/>
    <dgm:cxn modelId="{253D4AD8-33ED-491C-A9C1-DE2E9CF66509}" type="presParOf" srcId="{1D33DDBD-3853-430E-8D6E-77CFA0B4A782}" destId="{6326AB89-6241-4CD7-871D-2B3C856BBDF4}" srcOrd="1" destOrd="0" presId="urn:microsoft.com/office/officeart/2005/8/layout/hierarchy1"/>
    <dgm:cxn modelId="{AA14F209-6970-48B1-8678-304CAFD8AEED}" type="presParOf" srcId="{6326AB89-6241-4CD7-871D-2B3C856BBDF4}" destId="{8295B923-4FF1-4F79-B2FC-50F77AEB866D}" srcOrd="0" destOrd="0" presId="urn:microsoft.com/office/officeart/2005/8/layout/hierarchy1"/>
    <dgm:cxn modelId="{6204FFEB-D508-47BA-932A-6053B9E402D2}" type="presParOf" srcId="{8295B923-4FF1-4F79-B2FC-50F77AEB866D}" destId="{0BBCDA06-0BF9-4FBE-B11E-38C841255EC6}" srcOrd="0" destOrd="0" presId="urn:microsoft.com/office/officeart/2005/8/layout/hierarchy1"/>
    <dgm:cxn modelId="{F2E74D3D-B396-4F7D-AACA-20A5415B4B27}" type="presParOf" srcId="{8295B923-4FF1-4F79-B2FC-50F77AEB866D}" destId="{2606E750-46A8-4869-B281-8E1BD85378BC}" srcOrd="1" destOrd="0" presId="urn:microsoft.com/office/officeart/2005/8/layout/hierarchy1"/>
    <dgm:cxn modelId="{9A56737B-6B5F-4024-A33E-4186785771E9}" type="presParOf" srcId="{6326AB89-6241-4CD7-871D-2B3C856BBDF4}" destId="{ADEA6673-492D-46EF-BEE5-3787330E1A6E}" srcOrd="1" destOrd="0" presId="urn:microsoft.com/office/officeart/2005/8/layout/hierarchy1"/>
    <dgm:cxn modelId="{E830C871-26FA-4926-B30E-95317377CBB6}" type="presParOf" srcId="{ADEA6673-492D-46EF-BEE5-3787330E1A6E}" destId="{392959BB-1D47-420A-B581-A0FA92F5DC1F}" srcOrd="0" destOrd="0" presId="urn:microsoft.com/office/officeart/2005/8/layout/hierarchy1"/>
    <dgm:cxn modelId="{3BA1F44B-8B9D-41A9-BB95-924E7DDDB0D5}" type="presParOf" srcId="{ADEA6673-492D-46EF-BEE5-3787330E1A6E}" destId="{F58EB33B-E090-47A5-BD5C-9227E0C70622}" srcOrd="1" destOrd="0" presId="urn:microsoft.com/office/officeart/2005/8/layout/hierarchy1"/>
    <dgm:cxn modelId="{BEDF8F79-C127-4FF8-B290-71543F392DA4}" type="presParOf" srcId="{F58EB33B-E090-47A5-BD5C-9227E0C70622}" destId="{0D474CF9-EED6-41F0-A976-4AE6931E8C56}" srcOrd="0" destOrd="0" presId="urn:microsoft.com/office/officeart/2005/8/layout/hierarchy1"/>
    <dgm:cxn modelId="{32C1C750-5FD1-4238-9592-1957C85200AB}" type="presParOf" srcId="{0D474CF9-EED6-41F0-A976-4AE6931E8C56}" destId="{9BD99A68-B722-4C3B-911F-3E2DFFBFC4C2}" srcOrd="0" destOrd="0" presId="urn:microsoft.com/office/officeart/2005/8/layout/hierarchy1"/>
    <dgm:cxn modelId="{6A9FD66B-0020-4D01-A608-FAF58113C6DC}" type="presParOf" srcId="{0D474CF9-EED6-41F0-A976-4AE6931E8C56}" destId="{EA48756A-E278-442A-8F48-17BDA6B1A72F}" srcOrd="1" destOrd="0" presId="urn:microsoft.com/office/officeart/2005/8/layout/hierarchy1"/>
    <dgm:cxn modelId="{6DABC68D-6014-4B5B-85CF-DF47B69DD8C0}" type="presParOf" srcId="{F58EB33B-E090-47A5-BD5C-9227E0C70622}" destId="{B261FEAB-31BB-4064-B23B-946779C53953}" srcOrd="1" destOrd="0" presId="urn:microsoft.com/office/officeart/2005/8/layout/hierarchy1"/>
    <dgm:cxn modelId="{A04A00A9-5374-4363-98BE-6FB3B307D45D}" type="presParOf" srcId="{ADEA6673-492D-46EF-BEE5-3787330E1A6E}" destId="{00BF0632-91B3-4C51-B4B2-CD13635E0DCD}" srcOrd="2" destOrd="0" presId="urn:microsoft.com/office/officeart/2005/8/layout/hierarchy1"/>
    <dgm:cxn modelId="{430E9507-5CB9-4AF6-A400-59B04203F1BE}" type="presParOf" srcId="{ADEA6673-492D-46EF-BEE5-3787330E1A6E}" destId="{F7C9088E-5C5D-479E-B18C-5E60127A95C7}" srcOrd="3" destOrd="0" presId="urn:microsoft.com/office/officeart/2005/8/layout/hierarchy1"/>
    <dgm:cxn modelId="{30440C48-9538-493E-BF6B-BC8BB403FDEF}" type="presParOf" srcId="{F7C9088E-5C5D-479E-B18C-5E60127A95C7}" destId="{B531D14B-83B5-4CBB-B67A-8199E4992399}" srcOrd="0" destOrd="0" presId="urn:microsoft.com/office/officeart/2005/8/layout/hierarchy1"/>
    <dgm:cxn modelId="{2412010D-3063-452C-9F17-23A4910CC942}" type="presParOf" srcId="{B531D14B-83B5-4CBB-B67A-8199E4992399}" destId="{5B5C6077-85B6-4345-8CEB-5A4674612052}" srcOrd="0" destOrd="0" presId="urn:microsoft.com/office/officeart/2005/8/layout/hierarchy1"/>
    <dgm:cxn modelId="{37BE0986-2A2B-4AFF-926C-DCA84EF19B0F}" type="presParOf" srcId="{B531D14B-83B5-4CBB-B67A-8199E4992399}" destId="{2C028FC8-DE3E-4E0F-BD64-D310A1A162FF}" srcOrd="1" destOrd="0" presId="urn:microsoft.com/office/officeart/2005/8/layout/hierarchy1"/>
    <dgm:cxn modelId="{DB774B6F-5B3E-4FC8-959C-439A886B3F97}" type="presParOf" srcId="{F7C9088E-5C5D-479E-B18C-5E60127A95C7}" destId="{A3ACB2D7-DCFC-4902-8DB5-507BB88B983E}" srcOrd="1" destOrd="0" presId="urn:microsoft.com/office/officeart/2005/8/layout/hierarchy1"/>
    <dgm:cxn modelId="{DB07257B-2D1A-44A6-9FAA-9900A5E61F4A}" type="presParOf" srcId="{ADEA6673-492D-46EF-BEE5-3787330E1A6E}" destId="{24D79437-7718-458C-B66E-AFF520BA0814}" srcOrd="4" destOrd="0" presId="urn:microsoft.com/office/officeart/2005/8/layout/hierarchy1"/>
    <dgm:cxn modelId="{B13DF0C3-4E46-40EE-84B8-8E0664F483F2}" type="presParOf" srcId="{ADEA6673-492D-46EF-BEE5-3787330E1A6E}" destId="{27ED9D2A-C5FE-4426-A154-C2790AF75C92}" srcOrd="5" destOrd="0" presId="urn:microsoft.com/office/officeart/2005/8/layout/hierarchy1"/>
    <dgm:cxn modelId="{59D81DF1-0B1C-4132-B895-0CFCC929A956}" type="presParOf" srcId="{27ED9D2A-C5FE-4426-A154-C2790AF75C92}" destId="{B58A6A9C-5F60-488B-B046-94EB3B16E6AC}" srcOrd="0" destOrd="0" presId="urn:microsoft.com/office/officeart/2005/8/layout/hierarchy1"/>
    <dgm:cxn modelId="{1092549C-A1A6-4B56-AA7E-3AD3CA76E5CF}" type="presParOf" srcId="{B58A6A9C-5F60-488B-B046-94EB3B16E6AC}" destId="{0D52FF9B-E7DF-466B-A79D-D906C161963C}" srcOrd="0" destOrd="0" presId="urn:microsoft.com/office/officeart/2005/8/layout/hierarchy1"/>
    <dgm:cxn modelId="{EF8F656C-9DA8-4ED8-BF12-6EDC21976D05}" type="presParOf" srcId="{B58A6A9C-5F60-488B-B046-94EB3B16E6AC}" destId="{AFF5C80F-5695-4AF1-83C6-B0B69D681EC7}" srcOrd="1" destOrd="0" presId="urn:microsoft.com/office/officeart/2005/8/layout/hierarchy1"/>
    <dgm:cxn modelId="{6E1FFA43-342D-430F-8E0D-DC78D71CA657}" type="presParOf" srcId="{27ED9D2A-C5FE-4426-A154-C2790AF75C92}" destId="{D3A8C1C6-5F07-4B61-B229-0FC7485B2A03}" srcOrd="1" destOrd="0" presId="urn:microsoft.com/office/officeart/2005/8/layout/hierarchy1"/>
    <dgm:cxn modelId="{FB30E4E2-E890-4839-A927-181B3A7F8232}" type="presParOf" srcId="{ADEA6673-492D-46EF-BEE5-3787330E1A6E}" destId="{F980F883-D5A7-4F9B-B8D2-11C12E83A991}" srcOrd="6" destOrd="0" presId="urn:microsoft.com/office/officeart/2005/8/layout/hierarchy1"/>
    <dgm:cxn modelId="{57D65D3F-D8C8-4A94-816C-B25207444075}" type="presParOf" srcId="{ADEA6673-492D-46EF-BEE5-3787330E1A6E}" destId="{1A7FB802-AB81-43C8-99C5-980ADB381738}" srcOrd="7" destOrd="0" presId="urn:microsoft.com/office/officeart/2005/8/layout/hierarchy1"/>
    <dgm:cxn modelId="{4230DA3A-DCE8-4908-980C-A09E41C053AC}" type="presParOf" srcId="{1A7FB802-AB81-43C8-99C5-980ADB381738}" destId="{37163F50-B995-4E51-B5D2-5EEA7192C225}" srcOrd="0" destOrd="0" presId="urn:microsoft.com/office/officeart/2005/8/layout/hierarchy1"/>
    <dgm:cxn modelId="{E8C03798-60D8-4BB0-A0E4-6F700BC36111}" type="presParOf" srcId="{37163F50-B995-4E51-B5D2-5EEA7192C225}" destId="{A64D08B1-090A-424D-9C7A-3AD22AA57FB2}" srcOrd="0" destOrd="0" presId="urn:microsoft.com/office/officeart/2005/8/layout/hierarchy1"/>
    <dgm:cxn modelId="{5A84799D-33C8-4E03-B82C-7BDCDCA34303}" type="presParOf" srcId="{37163F50-B995-4E51-B5D2-5EEA7192C225}" destId="{B400B699-7F73-4455-B893-E2D3386061F6}" srcOrd="1" destOrd="0" presId="urn:microsoft.com/office/officeart/2005/8/layout/hierarchy1"/>
    <dgm:cxn modelId="{1107432E-BEA9-4CDF-A86F-11873957C497}" type="presParOf" srcId="{1A7FB802-AB81-43C8-99C5-980ADB381738}" destId="{6B79A28A-1B66-4843-8C4C-8324B4A3F8A5}" srcOrd="1" destOrd="0" presId="urn:microsoft.com/office/officeart/2005/8/layout/hierarchy1"/>
    <dgm:cxn modelId="{639495BA-CEAB-4436-A7BA-7B223DBA59F2}" type="presParOf" srcId="{ADEA6673-492D-46EF-BEE5-3787330E1A6E}" destId="{0B87E6BE-68D8-4C19-A67A-F015149E602F}" srcOrd="8" destOrd="0" presId="urn:microsoft.com/office/officeart/2005/8/layout/hierarchy1"/>
    <dgm:cxn modelId="{0F0C8421-6BE3-40C7-A686-3812DFE52D68}" type="presParOf" srcId="{ADEA6673-492D-46EF-BEE5-3787330E1A6E}" destId="{6DAE7063-FA56-4462-A025-CE3A5A35980C}" srcOrd="9" destOrd="0" presId="urn:microsoft.com/office/officeart/2005/8/layout/hierarchy1"/>
    <dgm:cxn modelId="{9B251DC7-A231-42FB-AABF-546B89E27FD3}" type="presParOf" srcId="{6DAE7063-FA56-4462-A025-CE3A5A35980C}" destId="{85979E30-6A8A-49B1-81C2-220E2F63684A}" srcOrd="0" destOrd="0" presId="urn:microsoft.com/office/officeart/2005/8/layout/hierarchy1"/>
    <dgm:cxn modelId="{4926CC77-2512-4674-8CDE-CBCF9B5E1435}" type="presParOf" srcId="{85979E30-6A8A-49B1-81C2-220E2F63684A}" destId="{089845FB-757F-4893-9BF4-B2E2B8216917}" srcOrd="0" destOrd="0" presId="urn:microsoft.com/office/officeart/2005/8/layout/hierarchy1"/>
    <dgm:cxn modelId="{1CB88077-0E40-4ABC-88E6-A4A84B55022A}" type="presParOf" srcId="{85979E30-6A8A-49B1-81C2-220E2F63684A}" destId="{A2169F17-330B-4137-A703-0CC9D8D0474D}" srcOrd="1" destOrd="0" presId="urn:microsoft.com/office/officeart/2005/8/layout/hierarchy1"/>
    <dgm:cxn modelId="{6D1253C3-ED8D-49BA-BCCD-D76200277E2D}" type="presParOf" srcId="{6DAE7063-FA56-4462-A025-CE3A5A35980C}" destId="{E936DFD3-0D69-48EB-91EF-BF4A33D9511D}" srcOrd="1" destOrd="0" presId="urn:microsoft.com/office/officeart/2005/8/layout/hierarchy1"/>
    <dgm:cxn modelId="{530C8D09-752B-4B0D-8017-B82A386FC78D}" type="presParOf" srcId="{1D33DDBD-3853-430E-8D6E-77CFA0B4A782}" destId="{C726599B-89B2-4557-A5B0-D42C86C5CC02}" srcOrd="2" destOrd="0" presId="urn:microsoft.com/office/officeart/2005/8/layout/hierarchy1"/>
    <dgm:cxn modelId="{32DD2A7E-7174-417C-9A4C-11EECF2FE604}" type="presParOf" srcId="{1D33DDBD-3853-430E-8D6E-77CFA0B4A782}" destId="{C6CC7070-DD40-4AF9-84F9-C58FE0754FA4}" srcOrd="3" destOrd="0" presId="urn:microsoft.com/office/officeart/2005/8/layout/hierarchy1"/>
    <dgm:cxn modelId="{8FF63808-9FC0-442F-883E-8875F2F060F4}" type="presParOf" srcId="{C6CC7070-DD40-4AF9-84F9-C58FE0754FA4}" destId="{754A1213-EFFE-4A92-B4B4-780C6B61FC78}" srcOrd="0" destOrd="0" presId="urn:microsoft.com/office/officeart/2005/8/layout/hierarchy1"/>
    <dgm:cxn modelId="{2ABE7060-B2FC-4A14-91FD-F7DED18C7CC5}" type="presParOf" srcId="{754A1213-EFFE-4A92-B4B4-780C6B61FC78}" destId="{69CAF112-D190-4FAF-B946-AE4D093272D9}" srcOrd="0" destOrd="0" presId="urn:microsoft.com/office/officeart/2005/8/layout/hierarchy1"/>
    <dgm:cxn modelId="{0FB66CDA-29EE-4096-8BEF-C0CFB2046391}" type="presParOf" srcId="{754A1213-EFFE-4A92-B4B4-780C6B61FC78}" destId="{319C80DB-7E1A-45D9-96E3-43922431EAE5}" srcOrd="1" destOrd="0" presId="urn:microsoft.com/office/officeart/2005/8/layout/hierarchy1"/>
    <dgm:cxn modelId="{D98A0F40-9814-4765-A20B-7BFAC14DBCF4}" type="presParOf" srcId="{C6CC7070-DD40-4AF9-84F9-C58FE0754FA4}" destId="{38FA15C4-702D-4727-99BA-861BFFA02670}" srcOrd="1" destOrd="0" presId="urn:microsoft.com/office/officeart/2005/8/layout/hierarchy1"/>
    <dgm:cxn modelId="{8813A681-F44B-40BF-AE8D-B02F8DB45908}" type="presParOf" srcId="{1D33DDBD-3853-430E-8D6E-77CFA0B4A782}" destId="{59CAC2E1-5B63-45FE-AD54-AD2E829D3783}" srcOrd="4" destOrd="0" presId="urn:microsoft.com/office/officeart/2005/8/layout/hierarchy1"/>
    <dgm:cxn modelId="{4D07452F-1E30-43CA-A01E-EE1FBD1C804E}" type="presParOf" srcId="{1D33DDBD-3853-430E-8D6E-77CFA0B4A782}" destId="{99AE5E4D-04BB-4937-A35E-20266ACBF0D3}" srcOrd="5" destOrd="0" presId="urn:microsoft.com/office/officeart/2005/8/layout/hierarchy1"/>
    <dgm:cxn modelId="{7106ABF0-AC16-43FE-AFA4-18CB96680502}" type="presParOf" srcId="{99AE5E4D-04BB-4937-A35E-20266ACBF0D3}" destId="{3BADE19F-6BD0-4905-A9A3-7FB90D3B0166}" srcOrd="0" destOrd="0" presId="urn:microsoft.com/office/officeart/2005/8/layout/hierarchy1"/>
    <dgm:cxn modelId="{0E999B47-B191-4776-B3D0-2F3DB4AA5045}" type="presParOf" srcId="{3BADE19F-6BD0-4905-A9A3-7FB90D3B0166}" destId="{11C5C38A-C8D5-4768-B77B-A4CBAFF48AAC}" srcOrd="0" destOrd="0" presId="urn:microsoft.com/office/officeart/2005/8/layout/hierarchy1"/>
    <dgm:cxn modelId="{A886FB06-6DFB-4598-8BF5-A41D88B4737C}" type="presParOf" srcId="{3BADE19F-6BD0-4905-A9A3-7FB90D3B0166}" destId="{5EB0AEEE-9889-4599-8082-2ECBABF9D806}" srcOrd="1" destOrd="0" presId="urn:microsoft.com/office/officeart/2005/8/layout/hierarchy1"/>
    <dgm:cxn modelId="{ABCAF4CD-ACDF-4302-A97F-88AAAFBF1784}" type="presParOf" srcId="{99AE5E4D-04BB-4937-A35E-20266ACBF0D3}" destId="{7F26A6F5-2DD2-4CFE-A84A-A33CE88D0A46}" srcOrd="1" destOrd="0" presId="urn:microsoft.com/office/officeart/2005/8/layout/hierarchy1"/>
    <dgm:cxn modelId="{A1879936-DD08-48AC-9882-48450618A505}" type="presParOf" srcId="{1D33DDBD-3853-430E-8D6E-77CFA0B4A782}" destId="{711CE914-A18A-416C-A8BA-91CE11D5571D}" srcOrd="6" destOrd="0" presId="urn:microsoft.com/office/officeart/2005/8/layout/hierarchy1"/>
    <dgm:cxn modelId="{E0DDC28F-D9A5-4F04-A29F-4BF81B3BF3B8}" type="presParOf" srcId="{1D33DDBD-3853-430E-8D6E-77CFA0B4A782}" destId="{CB77A4C7-7A8A-48AD-B3A1-84D4A2B64442}" srcOrd="7" destOrd="0" presId="urn:microsoft.com/office/officeart/2005/8/layout/hierarchy1"/>
    <dgm:cxn modelId="{118353ED-8B8A-4676-A216-6E46C5A28292}" type="presParOf" srcId="{CB77A4C7-7A8A-48AD-B3A1-84D4A2B64442}" destId="{BDB37DCA-F498-4957-ADEC-90CBC5901A49}" srcOrd="0" destOrd="0" presId="urn:microsoft.com/office/officeart/2005/8/layout/hierarchy1"/>
    <dgm:cxn modelId="{F46F29B2-9D11-4838-A1A5-6FB9146ECED0}" type="presParOf" srcId="{BDB37DCA-F498-4957-ADEC-90CBC5901A49}" destId="{49870387-890B-4501-AF3D-E363268D269E}" srcOrd="0" destOrd="0" presId="urn:microsoft.com/office/officeart/2005/8/layout/hierarchy1"/>
    <dgm:cxn modelId="{1F3562C7-1D1D-4232-A0A0-DFE9EA438A7C}" type="presParOf" srcId="{BDB37DCA-F498-4957-ADEC-90CBC5901A49}" destId="{64C1A19F-958C-4693-88AD-7ADC99FAD45E}" srcOrd="1" destOrd="0" presId="urn:microsoft.com/office/officeart/2005/8/layout/hierarchy1"/>
    <dgm:cxn modelId="{FD481E79-4AE6-4B19-A4CE-6B23A84F6932}" type="presParOf" srcId="{CB77A4C7-7A8A-48AD-B3A1-84D4A2B64442}" destId="{0BC5BA6A-9CCB-486F-82CD-AFA4B962DB7F}"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257F8D-BB78-48EE-93A2-2E813893A616}">
      <dsp:nvSpPr>
        <dsp:cNvPr id="0" name=""/>
        <dsp:cNvSpPr/>
      </dsp:nvSpPr>
      <dsp:spPr>
        <a:xfrm>
          <a:off x="3296681" y="642570"/>
          <a:ext cx="1851570" cy="293726"/>
        </a:xfrm>
        <a:custGeom>
          <a:avLst/>
          <a:gdLst/>
          <a:ahLst/>
          <a:cxnLst/>
          <a:rect l="0" t="0" r="0" b="0"/>
          <a:pathLst>
            <a:path>
              <a:moveTo>
                <a:pt x="0" y="0"/>
              </a:moveTo>
              <a:lnTo>
                <a:pt x="0" y="200166"/>
              </a:lnTo>
              <a:lnTo>
                <a:pt x="1851570" y="200166"/>
              </a:lnTo>
              <a:lnTo>
                <a:pt x="1851570" y="29372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F4F5FF-B90D-4822-9DCE-CA8375537C2C}">
      <dsp:nvSpPr>
        <dsp:cNvPr id="0" name=""/>
        <dsp:cNvSpPr/>
      </dsp:nvSpPr>
      <dsp:spPr>
        <a:xfrm>
          <a:off x="3296681" y="642570"/>
          <a:ext cx="617190" cy="293726"/>
        </a:xfrm>
        <a:custGeom>
          <a:avLst/>
          <a:gdLst/>
          <a:ahLst/>
          <a:cxnLst/>
          <a:rect l="0" t="0" r="0" b="0"/>
          <a:pathLst>
            <a:path>
              <a:moveTo>
                <a:pt x="0" y="0"/>
              </a:moveTo>
              <a:lnTo>
                <a:pt x="0" y="200166"/>
              </a:lnTo>
              <a:lnTo>
                <a:pt x="617190" y="200166"/>
              </a:lnTo>
              <a:lnTo>
                <a:pt x="617190" y="29372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344442-6327-43D1-8F30-2F26E331F7C1}">
      <dsp:nvSpPr>
        <dsp:cNvPr id="0" name=""/>
        <dsp:cNvSpPr/>
      </dsp:nvSpPr>
      <dsp:spPr>
        <a:xfrm>
          <a:off x="2679491" y="1577613"/>
          <a:ext cx="2799318" cy="300242"/>
        </a:xfrm>
        <a:custGeom>
          <a:avLst/>
          <a:gdLst/>
          <a:ahLst/>
          <a:cxnLst/>
          <a:rect l="0" t="0" r="0" b="0"/>
          <a:pathLst>
            <a:path>
              <a:moveTo>
                <a:pt x="0" y="0"/>
              </a:moveTo>
              <a:lnTo>
                <a:pt x="0" y="206681"/>
              </a:lnTo>
              <a:lnTo>
                <a:pt x="2799318" y="206681"/>
              </a:lnTo>
              <a:lnTo>
                <a:pt x="2799318" y="3002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D940649-AD00-4970-9353-F92DF6262F45}">
      <dsp:nvSpPr>
        <dsp:cNvPr id="0" name=""/>
        <dsp:cNvSpPr/>
      </dsp:nvSpPr>
      <dsp:spPr>
        <a:xfrm>
          <a:off x="2674946" y="2599907"/>
          <a:ext cx="2260826" cy="207728"/>
        </a:xfrm>
        <a:custGeom>
          <a:avLst/>
          <a:gdLst/>
          <a:ahLst/>
          <a:cxnLst/>
          <a:rect l="0" t="0" r="0" b="0"/>
          <a:pathLst>
            <a:path>
              <a:moveTo>
                <a:pt x="0" y="0"/>
              </a:moveTo>
              <a:lnTo>
                <a:pt x="0" y="114168"/>
              </a:lnTo>
              <a:lnTo>
                <a:pt x="2260826" y="114168"/>
              </a:lnTo>
              <a:lnTo>
                <a:pt x="2260826" y="20772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44B05C5-96FE-4E49-B66D-458B7E91D990}">
      <dsp:nvSpPr>
        <dsp:cNvPr id="0" name=""/>
        <dsp:cNvSpPr/>
      </dsp:nvSpPr>
      <dsp:spPr>
        <a:xfrm>
          <a:off x="2674946" y="2599907"/>
          <a:ext cx="801722" cy="207728"/>
        </a:xfrm>
        <a:custGeom>
          <a:avLst/>
          <a:gdLst/>
          <a:ahLst/>
          <a:cxnLst/>
          <a:rect l="0" t="0" r="0" b="0"/>
          <a:pathLst>
            <a:path>
              <a:moveTo>
                <a:pt x="0" y="0"/>
              </a:moveTo>
              <a:lnTo>
                <a:pt x="0" y="114168"/>
              </a:lnTo>
              <a:lnTo>
                <a:pt x="801722" y="114168"/>
              </a:lnTo>
              <a:lnTo>
                <a:pt x="801722" y="20772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0A97289-EEC1-4338-80F8-571B09C72DCB}">
      <dsp:nvSpPr>
        <dsp:cNvPr id="0" name=""/>
        <dsp:cNvSpPr/>
      </dsp:nvSpPr>
      <dsp:spPr>
        <a:xfrm>
          <a:off x="2101310" y="2599907"/>
          <a:ext cx="573636" cy="207728"/>
        </a:xfrm>
        <a:custGeom>
          <a:avLst/>
          <a:gdLst/>
          <a:ahLst/>
          <a:cxnLst/>
          <a:rect l="0" t="0" r="0" b="0"/>
          <a:pathLst>
            <a:path>
              <a:moveTo>
                <a:pt x="573636" y="0"/>
              </a:moveTo>
              <a:lnTo>
                <a:pt x="573636" y="114168"/>
              </a:lnTo>
              <a:lnTo>
                <a:pt x="0" y="114168"/>
              </a:lnTo>
              <a:lnTo>
                <a:pt x="0" y="20772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1701DAA-8D58-4013-82A4-E37CEF8002E2}">
      <dsp:nvSpPr>
        <dsp:cNvPr id="0" name=""/>
        <dsp:cNvSpPr/>
      </dsp:nvSpPr>
      <dsp:spPr>
        <a:xfrm>
          <a:off x="635606" y="2599907"/>
          <a:ext cx="2039340" cy="207728"/>
        </a:xfrm>
        <a:custGeom>
          <a:avLst/>
          <a:gdLst/>
          <a:ahLst/>
          <a:cxnLst/>
          <a:rect l="0" t="0" r="0" b="0"/>
          <a:pathLst>
            <a:path>
              <a:moveTo>
                <a:pt x="2039340" y="0"/>
              </a:moveTo>
              <a:lnTo>
                <a:pt x="2039340" y="114168"/>
              </a:lnTo>
              <a:lnTo>
                <a:pt x="0" y="114168"/>
              </a:lnTo>
              <a:lnTo>
                <a:pt x="0" y="20772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51BC5EA-1304-406B-8802-319783B3AB5F}">
      <dsp:nvSpPr>
        <dsp:cNvPr id="0" name=""/>
        <dsp:cNvSpPr/>
      </dsp:nvSpPr>
      <dsp:spPr>
        <a:xfrm>
          <a:off x="2629226" y="1577613"/>
          <a:ext cx="91440" cy="380977"/>
        </a:xfrm>
        <a:custGeom>
          <a:avLst/>
          <a:gdLst/>
          <a:ahLst/>
          <a:cxnLst/>
          <a:rect l="0" t="0" r="0" b="0"/>
          <a:pathLst>
            <a:path>
              <a:moveTo>
                <a:pt x="50264" y="0"/>
              </a:moveTo>
              <a:lnTo>
                <a:pt x="50264" y="287417"/>
              </a:lnTo>
              <a:lnTo>
                <a:pt x="45720" y="287417"/>
              </a:lnTo>
              <a:lnTo>
                <a:pt x="45720" y="3809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CBA7704-D8F8-4A8E-AD98-94A67AD9E2E6}">
      <dsp:nvSpPr>
        <dsp:cNvPr id="0" name=""/>
        <dsp:cNvSpPr/>
      </dsp:nvSpPr>
      <dsp:spPr>
        <a:xfrm>
          <a:off x="420933" y="1577613"/>
          <a:ext cx="2258558" cy="303500"/>
        </a:xfrm>
        <a:custGeom>
          <a:avLst/>
          <a:gdLst/>
          <a:ahLst/>
          <a:cxnLst/>
          <a:rect l="0" t="0" r="0" b="0"/>
          <a:pathLst>
            <a:path>
              <a:moveTo>
                <a:pt x="2258558" y="0"/>
              </a:moveTo>
              <a:lnTo>
                <a:pt x="2258558" y="209939"/>
              </a:lnTo>
              <a:lnTo>
                <a:pt x="0" y="209939"/>
              </a:lnTo>
              <a:lnTo>
                <a:pt x="0" y="30350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61731F-A63A-4D18-987E-2A972268CCFF}">
      <dsp:nvSpPr>
        <dsp:cNvPr id="0" name=""/>
        <dsp:cNvSpPr/>
      </dsp:nvSpPr>
      <dsp:spPr>
        <a:xfrm>
          <a:off x="2679491" y="642570"/>
          <a:ext cx="617190" cy="293726"/>
        </a:xfrm>
        <a:custGeom>
          <a:avLst/>
          <a:gdLst/>
          <a:ahLst/>
          <a:cxnLst/>
          <a:rect l="0" t="0" r="0" b="0"/>
          <a:pathLst>
            <a:path>
              <a:moveTo>
                <a:pt x="617190" y="0"/>
              </a:moveTo>
              <a:lnTo>
                <a:pt x="617190" y="200166"/>
              </a:lnTo>
              <a:lnTo>
                <a:pt x="0" y="200166"/>
              </a:lnTo>
              <a:lnTo>
                <a:pt x="0" y="29372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B77FA0-634E-4FB5-B0A5-3ECF95923265}">
      <dsp:nvSpPr>
        <dsp:cNvPr id="0" name=""/>
        <dsp:cNvSpPr/>
      </dsp:nvSpPr>
      <dsp:spPr>
        <a:xfrm>
          <a:off x="1445111" y="642570"/>
          <a:ext cx="1851570" cy="293726"/>
        </a:xfrm>
        <a:custGeom>
          <a:avLst/>
          <a:gdLst/>
          <a:ahLst/>
          <a:cxnLst/>
          <a:rect l="0" t="0" r="0" b="0"/>
          <a:pathLst>
            <a:path>
              <a:moveTo>
                <a:pt x="1851570" y="0"/>
              </a:moveTo>
              <a:lnTo>
                <a:pt x="1851570" y="200166"/>
              </a:lnTo>
              <a:lnTo>
                <a:pt x="0" y="200166"/>
              </a:lnTo>
              <a:lnTo>
                <a:pt x="0" y="29372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45F6399-493E-4489-884C-E240E73207BC}">
      <dsp:nvSpPr>
        <dsp:cNvPr id="0" name=""/>
        <dsp:cNvSpPr/>
      </dsp:nvSpPr>
      <dsp:spPr>
        <a:xfrm>
          <a:off x="2791708" y="1253"/>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A28AA9-5EAF-4351-8649-7E0F57983F50}">
      <dsp:nvSpPr>
        <dsp:cNvPr id="0" name=""/>
        <dsp:cNvSpPr/>
      </dsp:nvSpPr>
      <dsp:spPr>
        <a:xfrm>
          <a:off x="2903924" y="107859"/>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Ministry of  Communication &amp;Information Technology</a:t>
          </a:r>
          <a:endParaRPr lang="en-US" sz="1000" kern="1200" dirty="0"/>
        </a:p>
      </dsp:txBody>
      <dsp:txXfrm>
        <a:off x="2922708" y="126643"/>
        <a:ext cx="972379" cy="603748"/>
      </dsp:txXfrm>
    </dsp:sp>
    <dsp:sp modelId="{BE0815C8-80D2-489A-9D41-4198A26BF8EC}">
      <dsp:nvSpPr>
        <dsp:cNvPr id="0" name=""/>
        <dsp:cNvSpPr/>
      </dsp:nvSpPr>
      <dsp:spPr>
        <a:xfrm>
          <a:off x="940137" y="936296"/>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641587-382A-4EF6-B76E-D472D3C97577}">
      <dsp:nvSpPr>
        <dsp:cNvPr id="0" name=""/>
        <dsp:cNvSpPr/>
      </dsp:nvSpPr>
      <dsp:spPr>
        <a:xfrm>
          <a:off x="1052353" y="1042902"/>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Telecom and Post Regulation Authority</a:t>
          </a:r>
          <a:endParaRPr lang="en-US" sz="1000" kern="1200" dirty="0"/>
        </a:p>
      </dsp:txBody>
      <dsp:txXfrm>
        <a:off x="1071137" y="1061686"/>
        <a:ext cx="972379" cy="603748"/>
      </dsp:txXfrm>
    </dsp:sp>
    <dsp:sp modelId="{23C19582-0660-48C6-B887-7CF9E372C9BF}">
      <dsp:nvSpPr>
        <dsp:cNvPr id="0" name=""/>
        <dsp:cNvSpPr/>
      </dsp:nvSpPr>
      <dsp:spPr>
        <a:xfrm>
          <a:off x="2174517" y="936296"/>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FE85C6-DB53-4217-B460-49FE30ED235C}">
      <dsp:nvSpPr>
        <dsp:cNvPr id="0" name=""/>
        <dsp:cNvSpPr/>
      </dsp:nvSpPr>
      <dsp:spPr>
        <a:xfrm>
          <a:off x="2286734" y="1042902"/>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National Information Center(General Manager)</a:t>
          </a:r>
          <a:endParaRPr lang="en-US" sz="1000" kern="1200" dirty="0"/>
        </a:p>
      </dsp:txBody>
      <dsp:txXfrm>
        <a:off x="2305518" y="1061686"/>
        <a:ext cx="972379" cy="603748"/>
      </dsp:txXfrm>
    </dsp:sp>
    <dsp:sp modelId="{CBF763FF-BBAB-4EBE-B89A-7C300A0BCA39}">
      <dsp:nvSpPr>
        <dsp:cNvPr id="0" name=""/>
        <dsp:cNvSpPr/>
      </dsp:nvSpPr>
      <dsp:spPr>
        <a:xfrm>
          <a:off x="-84040" y="1881113"/>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CFBA16-5EA2-4357-B731-F27A5FE8B62F}">
      <dsp:nvSpPr>
        <dsp:cNvPr id="0" name=""/>
        <dsp:cNvSpPr/>
      </dsp:nvSpPr>
      <dsp:spPr>
        <a:xfrm>
          <a:off x="28175" y="1987719"/>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Portal and E.services </a:t>
          </a:r>
          <a:endParaRPr lang="en-US" sz="1000" kern="1200" dirty="0"/>
        </a:p>
      </dsp:txBody>
      <dsp:txXfrm>
        <a:off x="46959" y="2006503"/>
        <a:ext cx="972379" cy="603748"/>
      </dsp:txXfrm>
    </dsp:sp>
    <dsp:sp modelId="{25A03135-525C-45F1-B612-4E68BF4FF238}">
      <dsp:nvSpPr>
        <dsp:cNvPr id="0" name=""/>
        <dsp:cNvSpPr/>
      </dsp:nvSpPr>
      <dsp:spPr>
        <a:xfrm>
          <a:off x="2169973" y="1958591"/>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4DD71A-96B4-40D8-85B1-45E46088008E}">
      <dsp:nvSpPr>
        <dsp:cNvPr id="0" name=""/>
        <dsp:cNvSpPr/>
      </dsp:nvSpPr>
      <dsp:spPr>
        <a:xfrm>
          <a:off x="2282189" y="2065196"/>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Applications &amp; systems </a:t>
          </a:r>
          <a:endParaRPr lang="en-US" sz="1000" kern="1200" dirty="0"/>
        </a:p>
      </dsp:txBody>
      <dsp:txXfrm>
        <a:off x="2300973" y="2083980"/>
        <a:ext cx="972379" cy="603748"/>
      </dsp:txXfrm>
    </dsp:sp>
    <dsp:sp modelId="{B634F5F6-370D-4DB5-A381-EAB59B100D10}">
      <dsp:nvSpPr>
        <dsp:cNvPr id="0" name=""/>
        <dsp:cNvSpPr/>
      </dsp:nvSpPr>
      <dsp:spPr>
        <a:xfrm>
          <a:off x="138242" y="2807636"/>
          <a:ext cx="99472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9A7433-7F40-4C02-AFEE-931DEA68A281}">
      <dsp:nvSpPr>
        <dsp:cNvPr id="0" name=""/>
        <dsp:cNvSpPr/>
      </dsp:nvSpPr>
      <dsp:spPr>
        <a:xfrm>
          <a:off x="250459" y="2914242"/>
          <a:ext cx="99472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Technical consultation </a:t>
          </a:r>
          <a:endParaRPr lang="en-US" sz="1000" kern="1200" dirty="0"/>
        </a:p>
      </dsp:txBody>
      <dsp:txXfrm>
        <a:off x="269243" y="2933026"/>
        <a:ext cx="957159" cy="603748"/>
      </dsp:txXfrm>
    </dsp:sp>
    <dsp:sp modelId="{06ADBDD5-AA50-4A4F-BEA0-51E46D94B43A}">
      <dsp:nvSpPr>
        <dsp:cNvPr id="0" name=""/>
        <dsp:cNvSpPr/>
      </dsp:nvSpPr>
      <dsp:spPr>
        <a:xfrm>
          <a:off x="1596336" y="2807636"/>
          <a:ext cx="1009947" cy="641316"/>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C50572-A907-46BA-BA42-5CBB22F7C0EA}">
      <dsp:nvSpPr>
        <dsp:cNvPr id="0" name=""/>
        <dsp:cNvSpPr/>
      </dsp:nvSpPr>
      <dsp:spPr>
        <a:xfrm>
          <a:off x="1708553" y="2914242"/>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tx1">
              <a:lumMod val="85000"/>
              <a:lumOff val="1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solidFill>
                <a:schemeClr val="tx1"/>
              </a:solidFill>
            </a:rPr>
            <a:t>Standards of Apps and sys</a:t>
          </a:r>
        </a:p>
        <a:p>
          <a:pPr lvl="0" algn="ctr" defTabSz="444500">
            <a:lnSpc>
              <a:spcPct val="90000"/>
            </a:lnSpc>
            <a:spcBef>
              <a:spcPct val="0"/>
            </a:spcBef>
            <a:spcAft>
              <a:spcPct val="35000"/>
            </a:spcAft>
          </a:pPr>
          <a:r>
            <a:rPr lang="en-US" sz="1000" b="1" kern="1200" dirty="0" smtClean="0">
              <a:solidFill>
                <a:schemeClr val="tx1"/>
              </a:solidFill>
            </a:rPr>
            <a:t>4 Staff</a:t>
          </a:r>
          <a:endParaRPr lang="en-US" sz="1000" b="1" kern="1200" dirty="0">
            <a:solidFill>
              <a:schemeClr val="tx1"/>
            </a:solidFill>
          </a:endParaRPr>
        </a:p>
      </dsp:txBody>
      <dsp:txXfrm>
        <a:off x="1727337" y="2933026"/>
        <a:ext cx="972379" cy="603748"/>
      </dsp:txXfrm>
    </dsp:sp>
    <dsp:sp modelId="{A165DEFB-0D06-48B6-B26C-07F5C05F9BC4}">
      <dsp:nvSpPr>
        <dsp:cNvPr id="0" name=""/>
        <dsp:cNvSpPr/>
      </dsp:nvSpPr>
      <dsp:spPr>
        <a:xfrm>
          <a:off x="2971695" y="2807636"/>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2C4540-673B-4859-B4F0-52A855B87481}">
      <dsp:nvSpPr>
        <dsp:cNvPr id="0" name=""/>
        <dsp:cNvSpPr/>
      </dsp:nvSpPr>
      <dsp:spPr>
        <a:xfrm>
          <a:off x="3083912" y="2914242"/>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Sharing Information Systems</a:t>
          </a:r>
          <a:endParaRPr lang="en-US" sz="1000" kern="1200" dirty="0"/>
        </a:p>
      </dsp:txBody>
      <dsp:txXfrm>
        <a:off x="3102696" y="2933026"/>
        <a:ext cx="972379" cy="603748"/>
      </dsp:txXfrm>
    </dsp:sp>
    <dsp:sp modelId="{32E5D6CA-19F8-4A18-A7A8-7A07FA486047}">
      <dsp:nvSpPr>
        <dsp:cNvPr id="0" name=""/>
        <dsp:cNvSpPr/>
      </dsp:nvSpPr>
      <dsp:spPr>
        <a:xfrm>
          <a:off x="4430799" y="2807636"/>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60C3C8-5799-4DE3-8DBF-202E33AF5AB6}">
      <dsp:nvSpPr>
        <dsp:cNvPr id="0" name=""/>
        <dsp:cNvSpPr/>
      </dsp:nvSpPr>
      <dsp:spPr>
        <a:xfrm>
          <a:off x="4543016" y="2914242"/>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Software Evaluation</a:t>
          </a:r>
          <a:endParaRPr lang="en-US" sz="1000" kern="1200" dirty="0"/>
        </a:p>
      </dsp:txBody>
      <dsp:txXfrm>
        <a:off x="4561800" y="2933026"/>
        <a:ext cx="972379" cy="603748"/>
      </dsp:txXfrm>
    </dsp:sp>
    <dsp:sp modelId="{5E90CECB-8E91-4374-BF0F-773A595CE99E}">
      <dsp:nvSpPr>
        <dsp:cNvPr id="0" name=""/>
        <dsp:cNvSpPr/>
      </dsp:nvSpPr>
      <dsp:spPr>
        <a:xfrm>
          <a:off x="4973835" y="1877855"/>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3B1B09C-7513-4623-AA88-CE18D0337071}">
      <dsp:nvSpPr>
        <dsp:cNvPr id="0" name=""/>
        <dsp:cNvSpPr/>
      </dsp:nvSpPr>
      <dsp:spPr>
        <a:xfrm>
          <a:off x="5086052" y="1984461"/>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Infrastructure  </a:t>
          </a:r>
          <a:endParaRPr lang="en-US" sz="1000" kern="1200" dirty="0"/>
        </a:p>
      </dsp:txBody>
      <dsp:txXfrm>
        <a:off x="5104836" y="2003245"/>
        <a:ext cx="972379" cy="603748"/>
      </dsp:txXfrm>
    </dsp:sp>
    <dsp:sp modelId="{25F7F640-C261-4833-B855-D6C4D181F388}">
      <dsp:nvSpPr>
        <dsp:cNvPr id="0" name=""/>
        <dsp:cNvSpPr/>
      </dsp:nvSpPr>
      <dsp:spPr>
        <a:xfrm>
          <a:off x="3408898" y="936296"/>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5CC391-5AF0-4F28-8BEE-D820CA1F0E42}">
      <dsp:nvSpPr>
        <dsp:cNvPr id="0" name=""/>
        <dsp:cNvSpPr/>
      </dsp:nvSpPr>
      <dsp:spPr>
        <a:xfrm>
          <a:off x="3521114" y="1042902"/>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National Authority for Digital Certification</a:t>
          </a:r>
          <a:endParaRPr lang="en-US" sz="1000" kern="1200" dirty="0"/>
        </a:p>
      </dsp:txBody>
      <dsp:txXfrm>
        <a:off x="3539898" y="1061686"/>
        <a:ext cx="972379" cy="603748"/>
      </dsp:txXfrm>
    </dsp:sp>
    <dsp:sp modelId="{A282739B-E0DB-4025-A1E7-EBC24CC44694}">
      <dsp:nvSpPr>
        <dsp:cNvPr id="0" name=""/>
        <dsp:cNvSpPr/>
      </dsp:nvSpPr>
      <dsp:spPr>
        <a:xfrm>
          <a:off x="4643278" y="936296"/>
          <a:ext cx="1009947" cy="64131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9152C4-038E-4117-9851-CE065BD0C503}">
      <dsp:nvSpPr>
        <dsp:cNvPr id="0" name=""/>
        <dsp:cNvSpPr/>
      </dsp:nvSpPr>
      <dsp:spPr>
        <a:xfrm>
          <a:off x="4755495" y="1042902"/>
          <a:ext cx="1009947" cy="64131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Nile Center for Technical Researches</a:t>
          </a:r>
          <a:endParaRPr lang="en-US" sz="1000" kern="1200" dirty="0"/>
        </a:p>
      </dsp:txBody>
      <dsp:txXfrm>
        <a:off x="4774279" y="1061686"/>
        <a:ext cx="972379" cy="6037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1CE914-A18A-416C-A8BA-91CE11D5571D}">
      <dsp:nvSpPr>
        <dsp:cNvPr id="0" name=""/>
        <dsp:cNvSpPr/>
      </dsp:nvSpPr>
      <dsp:spPr>
        <a:xfrm>
          <a:off x="495253" y="500640"/>
          <a:ext cx="6023553" cy="635448"/>
        </a:xfrm>
        <a:custGeom>
          <a:avLst/>
          <a:gdLst/>
          <a:ahLst/>
          <a:cxnLst/>
          <a:rect l="0" t="0" r="0" b="0"/>
          <a:pathLst>
            <a:path>
              <a:moveTo>
                <a:pt x="0" y="0"/>
              </a:moveTo>
              <a:lnTo>
                <a:pt x="0" y="543410"/>
              </a:lnTo>
              <a:lnTo>
                <a:pt x="6023553" y="543410"/>
              </a:lnTo>
              <a:lnTo>
                <a:pt x="6023553" y="63544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CAC2E1-5B63-45FE-AD54-AD2E829D3783}">
      <dsp:nvSpPr>
        <dsp:cNvPr id="0" name=""/>
        <dsp:cNvSpPr/>
      </dsp:nvSpPr>
      <dsp:spPr>
        <a:xfrm>
          <a:off x="495253" y="500640"/>
          <a:ext cx="4896217" cy="633820"/>
        </a:xfrm>
        <a:custGeom>
          <a:avLst/>
          <a:gdLst/>
          <a:ahLst/>
          <a:cxnLst/>
          <a:rect l="0" t="0" r="0" b="0"/>
          <a:pathLst>
            <a:path>
              <a:moveTo>
                <a:pt x="0" y="0"/>
              </a:moveTo>
              <a:lnTo>
                <a:pt x="0" y="541783"/>
              </a:lnTo>
              <a:lnTo>
                <a:pt x="4896217" y="541783"/>
              </a:lnTo>
              <a:lnTo>
                <a:pt x="4896217" y="6338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26599B-89B2-4557-A5B0-D42C86C5CC02}">
      <dsp:nvSpPr>
        <dsp:cNvPr id="0" name=""/>
        <dsp:cNvSpPr/>
      </dsp:nvSpPr>
      <dsp:spPr>
        <a:xfrm>
          <a:off x="495253" y="500640"/>
          <a:ext cx="3762254" cy="633820"/>
        </a:xfrm>
        <a:custGeom>
          <a:avLst/>
          <a:gdLst/>
          <a:ahLst/>
          <a:cxnLst/>
          <a:rect l="0" t="0" r="0" b="0"/>
          <a:pathLst>
            <a:path>
              <a:moveTo>
                <a:pt x="0" y="0"/>
              </a:moveTo>
              <a:lnTo>
                <a:pt x="0" y="541783"/>
              </a:lnTo>
              <a:lnTo>
                <a:pt x="3762254" y="541783"/>
              </a:lnTo>
              <a:lnTo>
                <a:pt x="3762254" y="6338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B87E6BE-68D8-4C19-A67A-F015149E602F}">
      <dsp:nvSpPr>
        <dsp:cNvPr id="0" name=""/>
        <dsp:cNvSpPr/>
      </dsp:nvSpPr>
      <dsp:spPr>
        <a:xfrm>
          <a:off x="495250" y="1765339"/>
          <a:ext cx="4520942" cy="822585"/>
        </a:xfrm>
        <a:custGeom>
          <a:avLst/>
          <a:gdLst/>
          <a:ahLst/>
          <a:cxnLst/>
          <a:rect l="0" t="0" r="0" b="0"/>
          <a:pathLst>
            <a:path>
              <a:moveTo>
                <a:pt x="0" y="0"/>
              </a:moveTo>
              <a:lnTo>
                <a:pt x="0" y="730548"/>
              </a:lnTo>
              <a:lnTo>
                <a:pt x="4520942" y="730548"/>
              </a:lnTo>
              <a:lnTo>
                <a:pt x="4520942" y="82258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980F883-D5A7-4F9B-B8D2-11C12E83A991}">
      <dsp:nvSpPr>
        <dsp:cNvPr id="0" name=""/>
        <dsp:cNvSpPr/>
      </dsp:nvSpPr>
      <dsp:spPr>
        <a:xfrm>
          <a:off x="495250" y="1765339"/>
          <a:ext cx="3394759" cy="822585"/>
        </a:xfrm>
        <a:custGeom>
          <a:avLst/>
          <a:gdLst/>
          <a:ahLst/>
          <a:cxnLst/>
          <a:rect l="0" t="0" r="0" b="0"/>
          <a:pathLst>
            <a:path>
              <a:moveTo>
                <a:pt x="0" y="0"/>
              </a:moveTo>
              <a:lnTo>
                <a:pt x="0" y="730548"/>
              </a:lnTo>
              <a:lnTo>
                <a:pt x="3394759" y="730548"/>
              </a:lnTo>
              <a:lnTo>
                <a:pt x="3394759" y="82258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4D79437-7718-458C-B66E-AFF520BA0814}">
      <dsp:nvSpPr>
        <dsp:cNvPr id="0" name=""/>
        <dsp:cNvSpPr/>
      </dsp:nvSpPr>
      <dsp:spPr>
        <a:xfrm>
          <a:off x="495250" y="1765339"/>
          <a:ext cx="2260171" cy="822585"/>
        </a:xfrm>
        <a:custGeom>
          <a:avLst/>
          <a:gdLst/>
          <a:ahLst/>
          <a:cxnLst/>
          <a:rect l="0" t="0" r="0" b="0"/>
          <a:pathLst>
            <a:path>
              <a:moveTo>
                <a:pt x="0" y="0"/>
              </a:moveTo>
              <a:lnTo>
                <a:pt x="0" y="730548"/>
              </a:lnTo>
              <a:lnTo>
                <a:pt x="2260171" y="730548"/>
              </a:lnTo>
              <a:lnTo>
                <a:pt x="2260171" y="82258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BF0632-91B3-4C51-B4B2-CD13635E0DCD}">
      <dsp:nvSpPr>
        <dsp:cNvPr id="0" name=""/>
        <dsp:cNvSpPr/>
      </dsp:nvSpPr>
      <dsp:spPr>
        <a:xfrm>
          <a:off x="495250" y="1765339"/>
          <a:ext cx="1136978" cy="822585"/>
        </a:xfrm>
        <a:custGeom>
          <a:avLst/>
          <a:gdLst/>
          <a:ahLst/>
          <a:cxnLst/>
          <a:rect l="0" t="0" r="0" b="0"/>
          <a:pathLst>
            <a:path>
              <a:moveTo>
                <a:pt x="0" y="0"/>
              </a:moveTo>
              <a:lnTo>
                <a:pt x="0" y="730548"/>
              </a:lnTo>
              <a:lnTo>
                <a:pt x="1136978" y="730548"/>
              </a:lnTo>
              <a:lnTo>
                <a:pt x="1136978" y="82258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2959BB-1D47-420A-B581-A0FA92F5DC1F}">
      <dsp:nvSpPr>
        <dsp:cNvPr id="0" name=""/>
        <dsp:cNvSpPr/>
      </dsp:nvSpPr>
      <dsp:spPr>
        <a:xfrm>
          <a:off x="448641" y="1765339"/>
          <a:ext cx="91440" cy="822585"/>
        </a:xfrm>
        <a:custGeom>
          <a:avLst/>
          <a:gdLst/>
          <a:ahLst/>
          <a:cxnLst/>
          <a:rect l="0" t="0" r="0" b="0"/>
          <a:pathLst>
            <a:path>
              <a:moveTo>
                <a:pt x="46608" y="0"/>
              </a:moveTo>
              <a:lnTo>
                <a:pt x="46608" y="730548"/>
              </a:lnTo>
              <a:lnTo>
                <a:pt x="45720" y="730548"/>
              </a:lnTo>
              <a:lnTo>
                <a:pt x="45720" y="82258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9DC07F-E033-43B0-8258-D58E80785942}">
      <dsp:nvSpPr>
        <dsp:cNvPr id="0" name=""/>
        <dsp:cNvSpPr/>
      </dsp:nvSpPr>
      <dsp:spPr>
        <a:xfrm>
          <a:off x="449530" y="500640"/>
          <a:ext cx="91440" cy="633820"/>
        </a:xfrm>
        <a:custGeom>
          <a:avLst/>
          <a:gdLst/>
          <a:ahLst/>
          <a:cxnLst/>
          <a:rect l="0" t="0" r="0" b="0"/>
          <a:pathLst>
            <a:path>
              <a:moveTo>
                <a:pt x="45723" y="0"/>
              </a:moveTo>
              <a:lnTo>
                <a:pt x="45723" y="541783"/>
              </a:lnTo>
              <a:lnTo>
                <a:pt x="45720" y="541783"/>
              </a:lnTo>
              <a:lnTo>
                <a:pt x="45720" y="6338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A3BB434-144C-42D3-A920-45EE99F7C111}">
      <dsp:nvSpPr>
        <dsp:cNvPr id="0" name=""/>
        <dsp:cNvSpPr/>
      </dsp:nvSpPr>
      <dsp:spPr>
        <a:xfrm>
          <a:off x="-1500" y="-79507"/>
          <a:ext cx="993508" cy="580148"/>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4BB0897-435A-4182-A73D-9EF92FE85BEA}">
      <dsp:nvSpPr>
        <dsp:cNvPr id="0" name=""/>
        <dsp:cNvSpPr/>
      </dsp:nvSpPr>
      <dsp:spPr>
        <a:xfrm>
          <a:off x="108889" y="25362"/>
          <a:ext cx="993508" cy="580148"/>
        </a:xfrm>
        <a:prstGeom prst="roundRect">
          <a:avLst>
            <a:gd name="adj" fmla="val 10000"/>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Mr. </a:t>
          </a:r>
          <a:r>
            <a:rPr lang="en-US" sz="1600" kern="1200" dirty="0" err="1" smtClean="0"/>
            <a:t>Makki</a:t>
          </a:r>
          <a:endParaRPr lang="en-US" sz="1600" kern="1200" dirty="0"/>
        </a:p>
      </dsp:txBody>
      <dsp:txXfrm>
        <a:off x="125881" y="42354"/>
        <a:ext cx="959524" cy="546164"/>
      </dsp:txXfrm>
    </dsp:sp>
    <dsp:sp modelId="{0BBCDA06-0BF9-4FBE-B11E-38C841255EC6}">
      <dsp:nvSpPr>
        <dsp:cNvPr id="0" name=""/>
        <dsp:cNvSpPr/>
      </dsp:nvSpPr>
      <dsp:spPr>
        <a:xfrm>
          <a:off x="-1503" y="1134461"/>
          <a:ext cx="993508" cy="630877"/>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606E750-46A8-4869-B281-8E1BD85378BC}">
      <dsp:nvSpPr>
        <dsp:cNvPr id="0" name=""/>
        <dsp:cNvSpPr/>
      </dsp:nvSpPr>
      <dsp:spPr>
        <a:xfrm>
          <a:off x="108885" y="1239331"/>
          <a:ext cx="993508" cy="630877"/>
        </a:xfrm>
        <a:prstGeom prst="roundRect">
          <a:avLst>
            <a:gd name="adj" fmla="val 10000"/>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Ms. Hajir</a:t>
          </a:r>
          <a:br>
            <a:rPr lang="en-US" sz="1600" kern="1200" dirty="0" smtClean="0"/>
          </a:br>
          <a:r>
            <a:rPr lang="en-US" sz="1600" kern="1200" dirty="0" smtClean="0"/>
            <a:t> (Me)</a:t>
          </a:r>
          <a:endParaRPr lang="en-US" sz="1600" kern="1200" dirty="0"/>
        </a:p>
      </dsp:txBody>
      <dsp:txXfrm>
        <a:off x="127363" y="1257809"/>
        <a:ext cx="956552" cy="593921"/>
      </dsp:txXfrm>
    </dsp:sp>
    <dsp:sp modelId="{9BD99A68-B722-4C3B-911F-3E2DFFBFC4C2}">
      <dsp:nvSpPr>
        <dsp:cNvPr id="0" name=""/>
        <dsp:cNvSpPr/>
      </dsp:nvSpPr>
      <dsp:spPr>
        <a:xfrm>
          <a:off x="-2392" y="2587924"/>
          <a:ext cx="993508" cy="630877"/>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A48756A-E278-442A-8F48-17BDA6B1A72F}">
      <dsp:nvSpPr>
        <dsp:cNvPr id="0" name=""/>
        <dsp:cNvSpPr/>
      </dsp:nvSpPr>
      <dsp:spPr>
        <a:xfrm>
          <a:off x="107997" y="2692795"/>
          <a:ext cx="993508" cy="630877"/>
        </a:xfrm>
        <a:prstGeom prst="roundRect">
          <a:avLst>
            <a:gd name="adj" fmla="val 10000"/>
          </a:avLst>
        </a:prstGeom>
        <a:solidFill>
          <a:schemeClr val="bg1">
            <a:alpha val="9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BD</a:t>
          </a:r>
          <a:endParaRPr lang="en-US" sz="1600" kern="1200" dirty="0" smtClean="0">
            <a:solidFill>
              <a:schemeClr val="tx1"/>
            </a:solidFill>
          </a:endParaRPr>
        </a:p>
      </dsp:txBody>
      <dsp:txXfrm>
        <a:off x="126475" y="2711273"/>
        <a:ext cx="956552" cy="593921"/>
      </dsp:txXfrm>
    </dsp:sp>
    <dsp:sp modelId="{5B5C6077-85B6-4345-8CEB-5A4674612052}">
      <dsp:nvSpPr>
        <dsp:cNvPr id="0" name=""/>
        <dsp:cNvSpPr/>
      </dsp:nvSpPr>
      <dsp:spPr>
        <a:xfrm>
          <a:off x="1135474" y="2587924"/>
          <a:ext cx="993508" cy="630877"/>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C028FC8-DE3E-4E0F-BD64-D310A1A162FF}">
      <dsp:nvSpPr>
        <dsp:cNvPr id="0" name=""/>
        <dsp:cNvSpPr/>
      </dsp:nvSpPr>
      <dsp:spPr>
        <a:xfrm>
          <a:off x="1245864" y="2692795"/>
          <a:ext cx="993508" cy="630877"/>
        </a:xfrm>
        <a:prstGeom prst="roundRect">
          <a:avLst>
            <a:gd name="adj" fmla="val 10000"/>
          </a:avLst>
        </a:prstGeom>
        <a:solidFill>
          <a:schemeClr val="bg1">
            <a:alpha val="9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BD</a:t>
          </a:r>
          <a:endParaRPr lang="en-US" sz="1600" kern="1200" dirty="0">
            <a:solidFill>
              <a:schemeClr val="tx1"/>
            </a:solidFill>
          </a:endParaRPr>
        </a:p>
      </dsp:txBody>
      <dsp:txXfrm>
        <a:off x="1264342" y="2711273"/>
        <a:ext cx="956552" cy="593921"/>
      </dsp:txXfrm>
    </dsp:sp>
    <dsp:sp modelId="{0D52FF9B-E7DF-466B-A79D-D906C161963C}">
      <dsp:nvSpPr>
        <dsp:cNvPr id="0" name=""/>
        <dsp:cNvSpPr/>
      </dsp:nvSpPr>
      <dsp:spPr>
        <a:xfrm>
          <a:off x="2258667" y="2587924"/>
          <a:ext cx="993508" cy="630877"/>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FF5C80F-5695-4AF1-83C6-B0B69D681EC7}">
      <dsp:nvSpPr>
        <dsp:cNvPr id="0" name=""/>
        <dsp:cNvSpPr/>
      </dsp:nvSpPr>
      <dsp:spPr>
        <a:xfrm>
          <a:off x="2369057" y="2692795"/>
          <a:ext cx="993508" cy="630877"/>
        </a:xfrm>
        <a:prstGeom prst="roundRect">
          <a:avLst>
            <a:gd name="adj" fmla="val 10000"/>
          </a:avLst>
        </a:prstGeom>
        <a:solidFill>
          <a:schemeClr val="bg1">
            <a:alpha val="9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BD</a:t>
          </a:r>
          <a:endParaRPr lang="en-US" sz="1600" kern="1200" dirty="0">
            <a:solidFill>
              <a:schemeClr val="tx1"/>
            </a:solidFill>
          </a:endParaRPr>
        </a:p>
      </dsp:txBody>
      <dsp:txXfrm>
        <a:off x="2387535" y="2711273"/>
        <a:ext cx="956552" cy="593921"/>
      </dsp:txXfrm>
    </dsp:sp>
    <dsp:sp modelId="{A64D08B1-090A-424D-9C7A-3AD22AA57FB2}">
      <dsp:nvSpPr>
        <dsp:cNvPr id="0" name=""/>
        <dsp:cNvSpPr/>
      </dsp:nvSpPr>
      <dsp:spPr>
        <a:xfrm>
          <a:off x="3393255" y="2587924"/>
          <a:ext cx="993508" cy="630877"/>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00B699-7F73-4455-B893-E2D3386061F6}">
      <dsp:nvSpPr>
        <dsp:cNvPr id="0" name=""/>
        <dsp:cNvSpPr/>
      </dsp:nvSpPr>
      <dsp:spPr>
        <a:xfrm>
          <a:off x="3503645" y="2692795"/>
          <a:ext cx="993508" cy="630877"/>
        </a:xfrm>
        <a:prstGeom prst="roundRect">
          <a:avLst>
            <a:gd name="adj" fmla="val 10000"/>
          </a:avLst>
        </a:prstGeom>
        <a:solidFill>
          <a:schemeClr val="bg1">
            <a:alpha val="9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BD</a:t>
          </a:r>
          <a:endParaRPr lang="en-US" sz="1600" kern="1200" dirty="0">
            <a:solidFill>
              <a:schemeClr val="tx1"/>
            </a:solidFill>
          </a:endParaRPr>
        </a:p>
      </dsp:txBody>
      <dsp:txXfrm>
        <a:off x="3522123" y="2711273"/>
        <a:ext cx="956552" cy="593921"/>
      </dsp:txXfrm>
    </dsp:sp>
    <dsp:sp modelId="{089845FB-757F-4893-9BF4-B2E2B8216917}">
      <dsp:nvSpPr>
        <dsp:cNvPr id="0" name=""/>
        <dsp:cNvSpPr/>
      </dsp:nvSpPr>
      <dsp:spPr>
        <a:xfrm>
          <a:off x="4519438" y="2587924"/>
          <a:ext cx="993508" cy="630877"/>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2169F17-330B-4137-A703-0CC9D8D0474D}">
      <dsp:nvSpPr>
        <dsp:cNvPr id="0" name=""/>
        <dsp:cNvSpPr/>
      </dsp:nvSpPr>
      <dsp:spPr>
        <a:xfrm>
          <a:off x="4629828" y="2692795"/>
          <a:ext cx="993508" cy="630877"/>
        </a:xfrm>
        <a:prstGeom prst="roundRect">
          <a:avLst>
            <a:gd name="adj" fmla="val 10000"/>
          </a:avLst>
        </a:prstGeom>
        <a:solidFill>
          <a:schemeClr val="bg1">
            <a:alpha val="9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BD</a:t>
          </a:r>
          <a:endParaRPr lang="en-US" sz="1600" kern="1200" dirty="0" smtClean="0">
            <a:solidFill>
              <a:schemeClr val="tx1"/>
            </a:solidFill>
          </a:endParaRPr>
        </a:p>
      </dsp:txBody>
      <dsp:txXfrm>
        <a:off x="4648306" y="2711273"/>
        <a:ext cx="956552" cy="593921"/>
      </dsp:txXfrm>
    </dsp:sp>
    <dsp:sp modelId="{69CAF112-D190-4FAF-B946-AE4D093272D9}">
      <dsp:nvSpPr>
        <dsp:cNvPr id="0" name=""/>
        <dsp:cNvSpPr/>
      </dsp:nvSpPr>
      <dsp:spPr>
        <a:xfrm>
          <a:off x="3760754" y="1134461"/>
          <a:ext cx="993508" cy="630877"/>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19C80DB-7E1A-45D9-96E3-43922431EAE5}">
      <dsp:nvSpPr>
        <dsp:cNvPr id="0" name=""/>
        <dsp:cNvSpPr/>
      </dsp:nvSpPr>
      <dsp:spPr>
        <a:xfrm>
          <a:off x="3871144" y="1239331"/>
          <a:ext cx="993508" cy="630877"/>
        </a:xfrm>
        <a:prstGeom prst="roundRect">
          <a:avLst>
            <a:gd name="adj" fmla="val 10000"/>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BD</a:t>
          </a:r>
          <a:endParaRPr lang="en-US" sz="1600" kern="1200" dirty="0" smtClean="0">
            <a:solidFill>
              <a:schemeClr val="tx1"/>
            </a:solidFill>
          </a:endParaRPr>
        </a:p>
      </dsp:txBody>
      <dsp:txXfrm>
        <a:off x="3889622" y="1257809"/>
        <a:ext cx="956552" cy="593921"/>
      </dsp:txXfrm>
    </dsp:sp>
    <dsp:sp modelId="{11C5C38A-C8D5-4768-B77B-A4CBAFF48AAC}">
      <dsp:nvSpPr>
        <dsp:cNvPr id="0" name=""/>
        <dsp:cNvSpPr/>
      </dsp:nvSpPr>
      <dsp:spPr>
        <a:xfrm>
          <a:off x="4894716" y="1134461"/>
          <a:ext cx="993508" cy="630877"/>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EB0AEEE-9889-4599-8082-2ECBABF9D806}">
      <dsp:nvSpPr>
        <dsp:cNvPr id="0" name=""/>
        <dsp:cNvSpPr/>
      </dsp:nvSpPr>
      <dsp:spPr>
        <a:xfrm>
          <a:off x="5005106" y="1239331"/>
          <a:ext cx="993508" cy="630877"/>
        </a:xfrm>
        <a:prstGeom prst="roundRect">
          <a:avLst>
            <a:gd name="adj" fmla="val 10000"/>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BD</a:t>
          </a:r>
          <a:endParaRPr lang="en-US" sz="1600" kern="1200" dirty="0">
            <a:solidFill>
              <a:schemeClr val="tx1"/>
            </a:solidFill>
          </a:endParaRPr>
        </a:p>
      </dsp:txBody>
      <dsp:txXfrm>
        <a:off x="5023584" y="1257809"/>
        <a:ext cx="956552" cy="593921"/>
      </dsp:txXfrm>
    </dsp:sp>
    <dsp:sp modelId="{49870387-890B-4501-AF3D-E363268D269E}">
      <dsp:nvSpPr>
        <dsp:cNvPr id="0" name=""/>
        <dsp:cNvSpPr/>
      </dsp:nvSpPr>
      <dsp:spPr>
        <a:xfrm>
          <a:off x="6022052" y="1136089"/>
          <a:ext cx="993508" cy="630877"/>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4C1A19F-958C-4693-88AD-7ADC99FAD45E}">
      <dsp:nvSpPr>
        <dsp:cNvPr id="0" name=""/>
        <dsp:cNvSpPr/>
      </dsp:nvSpPr>
      <dsp:spPr>
        <a:xfrm>
          <a:off x="6132442" y="1240959"/>
          <a:ext cx="993508" cy="630877"/>
        </a:xfrm>
        <a:prstGeom prst="roundRect">
          <a:avLst>
            <a:gd name="adj" fmla="val 10000"/>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BD</a:t>
          </a:r>
          <a:endParaRPr lang="en-US" sz="1600" kern="1200" dirty="0">
            <a:solidFill>
              <a:schemeClr val="tx1"/>
            </a:solidFill>
          </a:endParaRPr>
        </a:p>
      </dsp:txBody>
      <dsp:txXfrm>
        <a:off x="6150920" y="1259437"/>
        <a:ext cx="956552" cy="59392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4375</cdr:x>
      <cdr:y>0.22987</cdr:y>
    </cdr:from>
    <cdr:to>
      <cdr:x>0.8625</cdr:x>
      <cdr:y>0.34237</cdr:y>
    </cdr:to>
    <cdr:sp macro="" textlink="">
      <cdr:nvSpPr>
        <cdr:cNvPr id="2" name="TextBox 1"/>
        <cdr:cNvSpPr txBox="1"/>
      </cdr:nvSpPr>
      <cdr:spPr>
        <a:xfrm xmlns:a="http://schemas.openxmlformats.org/drawingml/2006/main">
          <a:off x="2667000" y="934185"/>
          <a:ext cx="2590800" cy="457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26006</cdr:x>
      <cdr:y>0.18232</cdr:y>
    </cdr:from>
    <cdr:to>
      <cdr:x>0.64756</cdr:x>
      <cdr:y>0.33232</cdr:y>
    </cdr:to>
    <cdr:sp macro="" textlink="">
      <cdr:nvSpPr>
        <cdr:cNvPr id="3" name="TextBox 2"/>
        <cdr:cNvSpPr txBox="1"/>
      </cdr:nvSpPr>
      <cdr:spPr>
        <a:xfrm xmlns:a="http://schemas.openxmlformats.org/drawingml/2006/main">
          <a:off x="1585307" y="740936"/>
          <a:ext cx="2362200" cy="609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smtClean="0"/>
            <a:t>120 minutes delay of task</a:t>
          </a:r>
        </a:p>
        <a:p xmlns:a="http://schemas.openxmlformats.org/drawingml/2006/main">
          <a:endParaRPr lang="en-US" sz="1100" dirty="0"/>
        </a:p>
      </cdr:txBody>
    </cdr:sp>
  </cdr:relSizeAnchor>
  <cdr:relSizeAnchor xmlns:cdr="http://schemas.openxmlformats.org/drawingml/2006/chartDrawing">
    <cdr:from>
      <cdr:x>0.45851</cdr:x>
      <cdr:y>0.4896</cdr:y>
    </cdr:from>
    <cdr:to>
      <cdr:x>0.88351</cdr:x>
      <cdr:y>0.6396</cdr:y>
    </cdr:to>
    <cdr:sp macro="" textlink="">
      <cdr:nvSpPr>
        <cdr:cNvPr id="4" name="TextBox 1"/>
        <cdr:cNvSpPr txBox="1"/>
      </cdr:nvSpPr>
      <cdr:spPr>
        <a:xfrm xmlns:a="http://schemas.openxmlformats.org/drawingml/2006/main">
          <a:off x="2795057" y="1989736"/>
          <a:ext cx="2590800" cy="6096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dirty="0"/>
            <a:t>6</a:t>
          </a:r>
          <a:r>
            <a:rPr lang="en-US" sz="1100" dirty="0" smtClean="0"/>
            <a:t>0 minutes delay of task</a:t>
          </a:r>
        </a:p>
        <a:p xmlns:a="http://schemas.openxmlformats.org/drawingml/2006/main">
          <a:endParaRPr lang="en-US" sz="1100" dirty="0"/>
        </a:p>
      </cdr:txBody>
    </cdr:sp>
  </cdr:relSizeAnchor>
  <cdr:relSizeAnchor xmlns:cdr="http://schemas.openxmlformats.org/drawingml/2006/chartDrawing">
    <cdr:from>
      <cdr:x>0.19601</cdr:x>
      <cdr:y>0.525</cdr:y>
    </cdr:from>
    <cdr:to>
      <cdr:x>0.37101</cdr:x>
      <cdr:y>0.675</cdr:y>
    </cdr:to>
    <cdr:sp macro="" textlink="">
      <cdr:nvSpPr>
        <cdr:cNvPr id="5" name="TextBox 1"/>
        <cdr:cNvSpPr txBox="1"/>
      </cdr:nvSpPr>
      <cdr:spPr>
        <a:xfrm xmlns:a="http://schemas.openxmlformats.org/drawingml/2006/main">
          <a:off x="1194857" y="2133600"/>
          <a:ext cx="1066800" cy="6096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dirty="0" smtClean="0"/>
            <a:t>20 minutes without delay</a:t>
          </a:r>
          <a:endParaRPr lang="en-US" sz="1100" dirty="0" smtClean="0"/>
        </a:p>
        <a:p xmlns:a="http://schemas.openxmlformats.org/drawingml/2006/main">
          <a:endParaRPr lang="en-US" sz="1100" dirty="0"/>
        </a:p>
      </cdr:txBody>
    </cdr:sp>
  </cdr:relSizeAnchor>
  <cdr:relSizeAnchor xmlns:cdr="http://schemas.openxmlformats.org/drawingml/2006/chartDrawing">
    <cdr:from>
      <cdr:x>0.52101</cdr:x>
      <cdr:y>0.65625</cdr:y>
    </cdr:from>
    <cdr:to>
      <cdr:x>0.69601</cdr:x>
      <cdr:y>0.80625</cdr:y>
    </cdr:to>
    <cdr:sp macro="" textlink="">
      <cdr:nvSpPr>
        <cdr:cNvPr id="6" name="TextBox 1"/>
        <cdr:cNvSpPr txBox="1"/>
      </cdr:nvSpPr>
      <cdr:spPr>
        <a:xfrm xmlns:a="http://schemas.openxmlformats.org/drawingml/2006/main">
          <a:off x="3176057" y="2667000"/>
          <a:ext cx="1066800" cy="6096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dirty="0"/>
            <a:t>1</a:t>
          </a:r>
          <a:r>
            <a:rPr lang="en-US" dirty="0" smtClean="0"/>
            <a:t>0 minutes without delay</a:t>
          </a:r>
          <a:endParaRPr lang="en-US" sz="1100" dirty="0" smtClean="0"/>
        </a:p>
        <a:p xmlns:a="http://schemas.openxmlformats.org/drawingml/2006/main">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175" y="685800"/>
            <a:ext cx="60963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extLst>
      <p:ext uri="{BB962C8B-B14F-4D97-AF65-F5344CB8AC3E}">
        <p14:creationId xmlns:p14="http://schemas.microsoft.com/office/powerpoint/2010/main" val="3510555364"/>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Shape 1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 name="Shape 1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381000" y="685800"/>
            <a:ext cx="6096000" cy="3429000"/>
          </a:xfrm>
          <a:ln/>
        </p:spPr>
      </p:sp>
      <p:sp>
        <p:nvSpPr>
          <p:cNvPr id="337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latin typeface="Arial" panose="020B0604020202020204" pitchFamily="34" charset="0"/>
            </a:endParaRPr>
          </a:p>
        </p:txBody>
      </p:sp>
      <p:sp>
        <p:nvSpPr>
          <p:cNvPr id="2" name="Footer Placeholder 1"/>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292196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0"/>
        <p:cNvGrpSpPr/>
        <p:nvPr/>
      </p:nvGrpSpPr>
      <p:grpSpPr>
        <a:xfrm>
          <a:off x="0" y="0"/>
          <a:ext cx="0" cy="0"/>
          <a:chOff x="0" y="0"/>
          <a:chExt cx="0" cy="0"/>
        </a:xfrm>
      </p:grpSpPr>
      <p:sp>
        <p:nvSpPr>
          <p:cNvPr id="301" name="Shape 30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2" name="Shape 30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3721395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Shape 1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7" name="Shape 137"/>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71295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spect="1" noChangeArrowheads="1" noTextEdit="1"/>
          </p:cNvSpPr>
          <p:nvPr>
            <p:ph type="sldImg"/>
          </p:nvPr>
        </p:nvSpPr>
        <p:spPr>
          <a:xfrm>
            <a:off x="381000" y="685800"/>
            <a:ext cx="6096000" cy="34290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latin typeface="Arial" panose="020B0604020202020204" pitchFamily="34" charset="0"/>
            </a:endParaRPr>
          </a:p>
        </p:txBody>
      </p:sp>
    </p:spTree>
    <p:extLst>
      <p:ext uri="{BB962C8B-B14F-4D97-AF65-F5344CB8AC3E}">
        <p14:creationId xmlns:p14="http://schemas.microsoft.com/office/powerpoint/2010/main" val="333732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Shape 1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7" name="Shape 137"/>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1989614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ChangeArrowheads="1" noTextEdit="1"/>
          </p:cNvSpPr>
          <p:nvPr>
            <p:ph type="sldImg"/>
          </p:nvPr>
        </p:nvSpPr>
        <p:spPr>
          <a:xfrm>
            <a:off x="381000" y="685800"/>
            <a:ext cx="6096000" cy="3429000"/>
          </a:xfrm>
          <a:ln/>
        </p:spPr>
      </p:sp>
      <p:sp>
        <p:nvSpPr>
          <p:cNvPr id="2355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latin typeface="Arial" panose="020B0604020202020204" pitchFamily="34" charset="0"/>
            </a:endParaRPr>
          </a:p>
        </p:txBody>
      </p:sp>
    </p:spTree>
    <p:extLst>
      <p:ext uri="{BB962C8B-B14F-4D97-AF65-F5344CB8AC3E}">
        <p14:creationId xmlns:p14="http://schemas.microsoft.com/office/powerpoint/2010/main" val="575331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Shape 1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7" name="Shape 137"/>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1479787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xfrm>
            <a:off x="381000" y="685800"/>
            <a:ext cx="6096000" cy="3429000"/>
          </a:xfrm>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latin typeface="Arial" panose="020B0604020202020204" pitchFamily="34" charset="0"/>
            </a:endParaRPr>
          </a:p>
        </p:txBody>
      </p:sp>
      <p:sp>
        <p:nvSpPr>
          <p:cNvPr id="2" name="Footer Placeholder 1"/>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291395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xfrm>
            <a:off x="381000" y="685800"/>
            <a:ext cx="6096000" cy="3429000"/>
          </a:xfrm>
          <a:ln/>
        </p:spPr>
      </p:sp>
      <p:sp>
        <p:nvSpPr>
          <p:cNvPr id="29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smtClean="0">
              <a:latin typeface="Arial" panose="020B0604020202020204" pitchFamily="34" charset="0"/>
            </a:endParaRPr>
          </a:p>
        </p:txBody>
      </p:sp>
      <p:sp>
        <p:nvSpPr>
          <p:cNvPr id="2" name="Footer Placeholder 1"/>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2913957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type="title">
  <p:cSld name="TITLE">
    <p:bg>
      <p:bgPr>
        <a:solidFill>
          <a:srgbClr val="222222"/>
        </a:solidFill>
        <a:effectLst/>
      </p:bgPr>
    </p:bg>
    <p:spTree>
      <p:nvGrpSpPr>
        <p:cNvPr id="1" name="Shape 9"/>
        <p:cNvGrpSpPr/>
        <p:nvPr/>
      </p:nvGrpSpPr>
      <p:grpSpPr>
        <a:xfrm>
          <a:off x="0" y="0"/>
          <a:ext cx="0" cy="0"/>
          <a:chOff x="0" y="0"/>
          <a:chExt cx="0" cy="0"/>
        </a:xfrm>
      </p:grpSpPr>
      <p:sp>
        <p:nvSpPr>
          <p:cNvPr id="10" name="Shape 10"/>
          <p:cNvSpPr/>
          <p:nvPr/>
        </p:nvSpPr>
        <p:spPr>
          <a:xfrm>
            <a:off x="-11025" y="-11025"/>
            <a:ext cx="9144000" cy="5143500"/>
          </a:xfrm>
          <a:prstGeom prst="rect">
            <a:avLst/>
          </a:prstGeom>
          <a:solidFill>
            <a:srgbClr val="222222">
              <a:alpha val="6462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 name="Shape 11"/>
          <p:cNvSpPr/>
          <p:nvPr/>
        </p:nvSpPr>
        <p:spPr>
          <a:xfrm>
            <a:off x="5086350" y="-38100"/>
            <a:ext cx="4114800" cy="5219700"/>
          </a:xfrm>
          <a:custGeom>
            <a:avLst/>
            <a:gdLst/>
            <a:ahLst/>
            <a:cxnLst/>
            <a:rect l="0" t="0" r="0" b="0"/>
            <a:pathLst>
              <a:path w="164592" h="208788" extrusionOk="0">
                <a:moveTo>
                  <a:pt x="0" y="1524"/>
                </a:moveTo>
                <a:lnTo>
                  <a:pt x="107442" y="208788"/>
                </a:lnTo>
                <a:lnTo>
                  <a:pt x="164592" y="208788"/>
                </a:lnTo>
                <a:lnTo>
                  <a:pt x="164592" y="0"/>
                </a:lnTo>
                <a:close/>
              </a:path>
            </a:pathLst>
          </a:custGeom>
          <a:solidFill>
            <a:srgbClr val="FF8700">
              <a:alpha val="85380"/>
            </a:srgbClr>
          </a:solidFill>
          <a:ln>
            <a:noFill/>
          </a:ln>
        </p:spPr>
      </p:sp>
      <p:sp>
        <p:nvSpPr>
          <p:cNvPr id="12" name="Shape 12"/>
          <p:cNvSpPr/>
          <p:nvPr/>
        </p:nvSpPr>
        <p:spPr>
          <a:xfrm flipH="1">
            <a:off x="-418950" y="4394400"/>
            <a:ext cx="8172300" cy="749100"/>
          </a:xfrm>
          <a:prstGeom prst="parallelogram">
            <a:avLst>
              <a:gd name="adj" fmla="val 51542"/>
            </a:avLst>
          </a:prstGeom>
          <a:solidFill>
            <a:srgbClr val="FFFFFF">
              <a:alpha val="17690"/>
            </a:srgb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solidFill>
                <a:srgbClr val="434343"/>
              </a:solidFill>
            </a:endParaRPr>
          </a:p>
        </p:txBody>
      </p:sp>
      <p:sp>
        <p:nvSpPr>
          <p:cNvPr id="13" name="Shape 13"/>
          <p:cNvSpPr/>
          <p:nvPr/>
        </p:nvSpPr>
        <p:spPr>
          <a:xfrm flipH="1">
            <a:off x="1028475" y="4166400"/>
            <a:ext cx="8369700" cy="228000"/>
          </a:xfrm>
          <a:prstGeom prst="parallelogram">
            <a:avLst>
              <a:gd name="adj" fmla="val 51542"/>
            </a:avLst>
          </a:prstGeom>
          <a:solidFill>
            <a:srgbClr val="FFFFF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 name="Shape 14"/>
          <p:cNvSpPr txBox="1">
            <a:spLocks noGrp="1"/>
          </p:cNvSpPr>
          <p:nvPr>
            <p:ph type="ctrTitle"/>
          </p:nvPr>
        </p:nvSpPr>
        <p:spPr>
          <a:xfrm>
            <a:off x="1028475" y="0"/>
            <a:ext cx="5238600" cy="4020000"/>
          </a:xfrm>
          <a:prstGeom prst="rect">
            <a:avLst/>
          </a:prstGeom>
        </p:spPr>
        <p:txBody>
          <a:bodyPr spcFirstLastPara="1" wrap="square" lIns="91425" tIns="91425" rIns="91425" bIns="91425" anchor="b" anchorCtr="0"/>
          <a:lstStyle>
            <a:lvl1pPr lvl="0">
              <a:spcBef>
                <a:spcPts val="0"/>
              </a:spcBef>
              <a:spcAft>
                <a:spcPts val="0"/>
              </a:spcAft>
              <a:buSzPts val="5200"/>
              <a:buNone/>
              <a:defRPr sz="5200"/>
            </a:lvl1pPr>
            <a:lvl2pPr lvl="1">
              <a:spcBef>
                <a:spcPts val="0"/>
              </a:spcBef>
              <a:spcAft>
                <a:spcPts val="0"/>
              </a:spcAft>
              <a:buSzPts val="5200"/>
              <a:buNone/>
              <a:defRPr sz="5200"/>
            </a:lvl2pPr>
            <a:lvl3pPr lvl="2">
              <a:spcBef>
                <a:spcPts val="0"/>
              </a:spcBef>
              <a:spcAft>
                <a:spcPts val="0"/>
              </a:spcAft>
              <a:buSzPts val="5200"/>
              <a:buNone/>
              <a:defRPr sz="5200"/>
            </a:lvl3pPr>
            <a:lvl4pPr lvl="3">
              <a:spcBef>
                <a:spcPts val="0"/>
              </a:spcBef>
              <a:spcAft>
                <a:spcPts val="0"/>
              </a:spcAft>
              <a:buSzPts val="5200"/>
              <a:buNone/>
              <a:defRPr sz="5200"/>
            </a:lvl4pPr>
            <a:lvl5pPr lvl="4">
              <a:spcBef>
                <a:spcPts val="0"/>
              </a:spcBef>
              <a:spcAft>
                <a:spcPts val="0"/>
              </a:spcAft>
              <a:buSzPts val="5200"/>
              <a:buNone/>
              <a:defRPr sz="5200"/>
            </a:lvl5pPr>
            <a:lvl6pPr lvl="5">
              <a:spcBef>
                <a:spcPts val="0"/>
              </a:spcBef>
              <a:spcAft>
                <a:spcPts val="0"/>
              </a:spcAft>
              <a:buSzPts val="5200"/>
              <a:buNone/>
              <a:defRPr sz="5200"/>
            </a:lvl6pPr>
            <a:lvl7pPr lvl="6">
              <a:spcBef>
                <a:spcPts val="0"/>
              </a:spcBef>
              <a:spcAft>
                <a:spcPts val="0"/>
              </a:spcAft>
              <a:buSzPts val="5200"/>
              <a:buNone/>
              <a:defRPr sz="5200"/>
            </a:lvl7pPr>
            <a:lvl8pPr lvl="7">
              <a:spcBef>
                <a:spcPts val="0"/>
              </a:spcBef>
              <a:spcAft>
                <a:spcPts val="0"/>
              </a:spcAft>
              <a:buSzPts val="5200"/>
              <a:buNone/>
              <a:defRPr sz="5200"/>
            </a:lvl8pPr>
            <a:lvl9pPr lvl="8">
              <a:spcBef>
                <a:spcPts val="0"/>
              </a:spcBef>
              <a:spcAft>
                <a:spcPts val="0"/>
              </a:spcAft>
              <a:buSzPts val="5200"/>
              <a:buNone/>
              <a:defRPr sz="5200"/>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 1 column" type="tx">
  <p:cSld name="TITLE_AND_BODY">
    <p:spTree>
      <p:nvGrpSpPr>
        <p:cNvPr id="1" name="Shape 30"/>
        <p:cNvGrpSpPr/>
        <p:nvPr/>
      </p:nvGrpSpPr>
      <p:grpSpPr>
        <a:xfrm>
          <a:off x="0" y="0"/>
          <a:ext cx="0" cy="0"/>
          <a:chOff x="0" y="0"/>
          <a:chExt cx="0" cy="0"/>
        </a:xfrm>
      </p:grpSpPr>
      <p:sp>
        <p:nvSpPr>
          <p:cNvPr id="31" name="Shape 31"/>
          <p:cNvSpPr/>
          <p:nvPr/>
        </p:nvSpPr>
        <p:spPr>
          <a:xfrm>
            <a:off x="-55075" y="-38100"/>
            <a:ext cx="3312625" cy="5214650"/>
          </a:xfrm>
          <a:custGeom>
            <a:avLst/>
            <a:gdLst/>
            <a:ahLst/>
            <a:cxnLst/>
            <a:rect l="0" t="0" r="0" b="0"/>
            <a:pathLst>
              <a:path w="132505" h="208586" extrusionOk="0">
                <a:moveTo>
                  <a:pt x="132505" y="207264"/>
                </a:moveTo>
                <a:lnTo>
                  <a:pt x="25063" y="0"/>
                </a:lnTo>
                <a:lnTo>
                  <a:pt x="0" y="202"/>
                </a:lnTo>
                <a:lnTo>
                  <a:pt x="1322" y="208586"/>
                </a:lnTo>
                <a:close/>
              </a:path>
            </a:pathLst>
          </a:custGeom>
          <a:solidFill>
            <a:srgbClr val="F3F3F3"/>
          </a:solidFill>
          <a:ln>
            <a:noFill/>
          </a:ln>
        </p:spPr>
      </p:sp>
      <p:sp>
        <p:nvSpPr>
          <p:cNvPr id="32" name="Shape 32"/>
          <p:cNvSpPr/>
          <p:nvPr/>
        </p:nvSpPr>
        <p:spPr>
          <a:xfrm flipH="1">
            <a:off x="-903537" y="-17561"/>
            <a:ext cx="1759200" cy="749100"/>
          </a:xfrm>
          <a:prstGeom prst="parallelogram">
            <a:avLst>
              <a:gd name="adj" fmla="val 51542"/>
            </a:avLst>
          </a:prstGeom>
          <a:solidFill>
            <a:srgbClr val="22222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3" name="Shape 33"/>
          <p:cNvSpPr/>
          <p:nvPr/>
        </p:nvSpPr>
        <p:spPr>
          <a:xfrm flipH="1">
            <a:off x="472134" y="-9525"/>
            <a:ext cx="518400" cy="749100"/>
          </a:xfrm>
          <a:prstGeom prst="parallelogram">
            <a:avLst>
              <a:gd name="adj" fmla="val 75009"/>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4" name="Shape 34"/>
          <p:cNvSpPr/>
          <p:nvPr/>
        </p:nvSpPr>
        <p:spPr>
          <a:xfrm flipH="1">
            <a:off x="742953" y="272850"/>
            <a:ext cx="7505700" cy="749100"/>
          </a:xfrm>
          <a:prstGeom prst="parallelogram">
            <a:avLst>
              <a:gd name="adj" fmla="val 51542"/>
            </a:avLst>
          </a:prstGeom>
          <a:solidFill>
            <a:srgbClr val="22222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5" name="Shape 35"/>
          <p:cNvSpPr/>
          <p:nvPr/>
        </p:nvSpPr>
        <p:spPr>
          <a:xfrm flipH="1">
            <a:off x="7861618" y="272850"/>
            <a:ext cx="1759200" cy="749100"/>
          </a:xfrm>
          <a:prstGeom prst="parallelogram">
            <a:avLst>
              <a:gd name="adj" fmla="val 51542"/>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6" name="Shape 36"/>
          <p:cNvSpPr/>
          <p:nvPr/>
        </p:nvSpPr>
        <p:spPr>
          <a:xfrm flipH="1">
            <a:off x="990375" y="4925850"/>
            <a:ext cx="8369700" cy="228000"/>
          </a:xfrm>
          <a:prstGeom prst="parallelogram">
            <a:avLst>
              <a:gd name="adj" fmla="val 51542"/>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Shape 37"/>
          <p:cNvSpPr txBox="1">
            <a:spLocks noGrp="1"/>
          </p:cNvSpPr>
          <p:nvPr>
            <p:ph type="title"/>
          </p:nvPr>
        </p:nvSpPr>
        <p:spPr>
          <a:xfrm>
            <a:off x="1104900" y="276075"/>
            <a:ext cx="6724500" cy="749100"/>
          </a:xfrm>
          <a:prstGeom prst="rect">
            <a:avLst/>
          </a:prstGeom>
        </p:spPr>
        <p:txBody>
          <a:bodyPr spcFirstLastPara="1" wrap="square" lIns="91425" tIns="91425" rIns="91425" bIns="91425" anchor="ctr" anchorCtr="0"/>
          <a:lstStyle>
            <a:lvl1pPr lvl="0">
              <a:spcBef>
                <a:spcPts val="0"/>
              </a:spcBef>
              <a:spcAft>
                <a:spcPts val="0"/>
              </a:spcAft>
              <a:buSzPts val="2400"/>
              <a:buNone/>
              <a:defRPr/>
            </a:lvl1pPr>
            <a:lvl2pPr lvl="1">
              <a:spcBef>
                <a:spcPts val="0"/>
              </a:spcBef>
              <a:spcAft>
                <a:spcPts val="0"/>
              </a:spcAft>
              <a:buSzPts val="2400"/>
              <a:buNone/>
              <a:defRPr/>
            </a:lvl2pPr>
            <a:lvl3pPr lvl="2">
              <a:spcBef>
                <a:spcPts val="0"/>
              </a:spcBef>
              <a:spcAft>
                <a:spcPts val="0"/>
              </a:spcAft>
              <a:buSzPts val="2400"/>
              <a:buNone/>
              <a:defRPr/>
            </a:lvl3pPr>
            <a:lvl4pPr lvl="3">
              <a:spcBef>
                <a:spcPts val="0"/>
              </a:spcBef>
              <a:spcAft>
                <a:spcPts val="0"/>
              </a:spcAft>
              <a:buSzPts val="2400"/>
              <a:buNone/>
              <a:defRPr/>
            </a:lvl4pPr>
            <a:lvl5pPr lvl="4">
              <a:spcBef>
                <a:spcPts val="0"/>
              </a:spcBef>
              <a:spcAft>
                <a:spcPts val="0"/>
              </a:spcAft>
              <a:buSzPts val="2400"/>
              <a:buNone/>
              <a:defRPr/>
            </a:lvl5pPr>
            <a:lvl6pPr lvl="5">
              <a:spcBef>
                <a:spcPts val="0"/>
              </a:spcBef>
              <a:spcAft>
                <a:spcPts val="0"/>
              </a:spcAft>
              <a:buSzPts val="2400"/>
              <a:buNone/>
              <a:defRPr/>
            </a:lvl6pPr>
            <a:lvl7pPr lvl="6">
              <a:spcBef>
                <a:spcPts val="0"/>
              </a:spcBef>
              <a:spcAft>
                <a:spcPts val="0"/>
              </a:spcAft>
              <a:buSzPts val="2400"/>
              <a:buNone/>
              <a:defRPr/>
            </a:lvl7pPr>
            <a:lvl8pPr lvl="7">
              <a:spcBef>
                <a:spcPts val="0"/>
              </a:spcBef>
              <a:spcAft>
                <a:spcPts val="0"/>
              </a:spcAft>
              <a:buSzPts val="2400"/>
              <a:buNone/>
              <a:defRPr/>
            </a:lvl8pPr>
            <a:lvl9pPr lvl="8">
              <a:spcBef>
                <a:spcPts val="0"/>
              </a:spcBef>
              <a:spcAft>
                <a:spcPts val="0"/>
              </a:spcAft>
              <a:buSzPts val="2400"/>
              <a:buNone/>
              <a:defRPr/>
            </a:lvl9pPr>
          </a:lstStyle>
          <a:p>
            <a:endParaRPr/>
          </a:p>
        </p:txBody>
      </p:sp>
      <p:sp>
        <p:nvSpPr>
          <p:cNvPr id="38" name="Shape 38"/>
          <p:cNvSpPr txBox="1">
            <a:spLocks noGrp="1"/>
          </p:cNvSpPr>
          <p:nvPr>
            <p:ph type="body" idx="1"/>
          </p:nvPr>
        </p:nvSpPr>
        <p:spPr>
          <a:xfrm>
            <a:off x="1104900" y="1277625"/>
            <a:ext cx="7581900" cy="3648300"/>
          </a:xfrm>
          <a:prstGeom prst="rect">
            <a:avLst/>
          </a:prstGeom>
        </p:spPr>
        <p:txBody>
          <a:bodyPr spcFirstLastPara="1" wrap="square" lIns="91425" tIns="91425" rIns="91425" bIns="91425" anchor="t" anchorCtr="0"/>
          <a:lstStyle>
            <a:lvl1pPr marL="457200" lvl="0" indent="-419100">
              <a:spcBef>
                <a:spcPts val="600"/>
              </a:spcBef>
              <a:spcAft>
                <a:spcPts val="0"/>
              </a:spcAft>
              <a:buSzPts val="3000"/>
              <a:buChar char="▸"/>
              <a:defRPr/>
            </a:lvl1pPr>
            <a:lvl2pPr marL="914400" lvl="1" indent="-381000">
              <a:spcBef>
                <a:spcPts val="0"/>
              </a:spcBef>
              <a:spcAft>
                <a:spcPts val="0"/>
              </a:spcAft>
              <a:buSzPts val="2400"/>
              <a:buChar char="▹"/>
              <a:defRPr/>
            </a:lvl2pPr>
            <a:lvl3pPr marL="1371600" lvl="2" indent="-381000">
              <a:spcBef>
                <a:spcPts val="0"/>
              </a:spcBef>
              <a:spcAft>
                <a:spcPts val="0"/>
              </a:spcAft>
              <a:buSzPts val="2400"/>
              <a:buChar char="▹"/>
              <a:defRPr/>
            </a:lvl3pPr>
            <a:lvl4pPr marL="1828800" lvl="3" indent="-342900">
              <a:spcBef>
                <a:spcPts val="0"/>
              </a:spcBef>
              <a:spcAft>
                <a:spcPts val="0"/>
              </a:spcAft>
              <a:buSzPts val="1800"/>
              <a:buChar char="▹"/>
              <a:defRPr/>
            </a:lvl4pPr>
            <a:lvl5pPr marL="2286000" lvl="4" indent="-342900">
              <a:spcBef>
                <a:spcPts val="0"/>
              </a:spcBef>
              <a:spcAft>
                <a:spcPts val="0"/>
              </a:spcAft>
              <a:buSzPts val="1800"/>
              <a:buChar char="▹"/>
              <a:defRPr/>
            </a:lvl5pPr>
            <a:lvl6pPr marL="2743200" lvl="5" indent="-342900">
              <a:spcBef>
                <a:spcPts val="0"/>
              </a:spcBef>
              <a:spcAft>
                <a:spcPts val="0"/>
              </a:spcAft>
              <a:buSzPts val="1800"/>
              <a:buChar char="▹"/>
              <a:defRPr/>
            </a:lvl6pPr>
            <a:lvl7pPr marL="3200400" lvl="6" indent="-342900">
              <a:spcBef>
                <a:spcPts val="0"/>
              </a:spcBef>
              <a:spcAft>
                <a:spcPts val="0"/>
              </a:spcAft>
              <a:buSzPts val="1800"/>
              <a:buChar char="▹"/>
              <a:defRPr/>
            </a:lvl7pPr>
            <a:lvl8pPr marL="3657600" lvl="7" indent="-342900">
              <a:spcBef>
                <a:spcPts val="0"/>
              </a:spcBef>
              <a:spcAft>
                <a:spcPts val="0"/>
              </a:spcAft>
              <a:buSzPts val="1800"/>
              <a:buChar char="▹"/>
              <a:defRPr/>
            </a:lvl8pPr>
            <a:lvl9pPr marL="4114800" lvl="8" indent="-342900">
              <a:spcBef>
                <a:spcPts val="0"/>
              </a:spcBef>
              <a:spcAft>
                <a:spcPts val="0"/>
              </a:spcAft>
              <a:buSzPts val="1800"/>
              <a:buChar char="▹"/>
              <a:defRPr/>
            </a:lvl9pPr>
          </a:lstStyle>
          <a:p>
            <a:endParaRPr/>
          </a:p>
        </p:txBody>
      </p:sp>
      <p:sp>
        <p:nvSpPr>
          <p:cNvPr id="39" name="Shape 39"/>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63"/>
        <p:cNvGrpSpPr/>
        <p:nvPr/>
      </p:nvGrpSpPr>
      <p:grpSpPr>
        <a:xfrm>
          <a:off x="0" y="0"/>
          <a:ext cx="0" cy="0"/>
          <a:chOff x="0" y="0"/>
          <a:chExt cx="0" cy="0"/>
        </a:xfrm>
      </p:grpSpPr>
      <p:sp>
        <p:nvSpPr>
          <p:cNvPr id="64" name="Shape 64"/>
          <p:cNvSpPr/>
          <p:nvPr/>
        </p:nvSpPr>
        <p:spPr>
          <a:xfrm>
            <a:off x="-55075" y="-38100"/>
            <a:ext cx="3312625" cy="5214650"/>
          </a:xfrm>
          <a:custGeom>
            <a:avLst/>
            <a:gdLst/>
            <a:ahLst/>
            <a:cxnLst/>
            <a:rect l="0" t="0" r="0" b="0"/>
            <a:pathLst>
              <a:path w="132505" h="208586" extrusionOk="0">
                <a:moveTo>
                  <a:pt x="132505" y="207264"/>
                </a:moveTo>
                <a:lnTo>
                  <a:pt x="25063" y="0"/>
                </a:lnTo>
                <a:lnTo>
                  <a:pt x="0" y="202"/>
                </a:lnTo>
                <a:lnTo>
                  <a:pt x="1322" y="208586"/>
                </a:lnTo>
                <a:close/>
              </a:path>
            </a:pathLst>
          </a:custGeom>
          <a:solidFill>
            <a:srgbClr val="F3F3F3"/>
          </a:solidFill>
          <a:ln>
            <a:noFill/>
          </a:ln>
        </p:spPr>
      </p:sp>
      <p:sp>
        <p:nvSpPr>
          <p:cNvPr id="65" name="Shape 65"/>
          <p:cNvSpPr/>
          <p:nvPr/>
        </p:nvSpPr>
        <p:spPr>
          <a:xfrm flipH="1">
            <a:off x="-903537" y="-17561"/>
            <a:ext cx="1759200" cy="749100"/>
          </a:xfrm>
          <a:prstGeom prst="parallelogram">
            <a:avLst>
              <a:gd name="adj" fmla="val 51542"/>
            </a:avLst>
          </a:prstGeom>
          <a:solidFill>
            <a:srgbClr val="22222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6" name="Shape 66"/>
          <p:cNvSpPr/>
          <p:nvPr/>
        </p:nvSpPr>
        <p:spPr>
          <a:xfrm flipH="1">
            <a:off x="472134" y="-9525"/>
            <a:ext cx="518400" cy="749100"/>
          </a:xfrm>
          <a:prstGeom prst="parallelogram">
            <a:avLst>
              <a:gd name="adj" fmla="val 75009"/>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7" name="Shape 67"/>
          <p:cNvSpPr/>
          <p:nvPr/>
        </p:nvSpPr>
        <p:spPr>
          <a:xfrm flipH="1">
            <a:off x="742953" y="272850"/>
            <a:ext cx="7505700" cy="749100"/>
          </a:xfrm>
          <a:prstGeom prst="parallelogram">
            <a:avLst>
              <a:gd name="adj" fmla="val 51542"/>
            </a:avLst>
          </a:prstGeom>
          <a:solidFill>
            <a:srgbClr val="22222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8" name="Shape 68"/>
          <p:cNvSpPr/>
          <p:nvPr/>
        </p:nvSpPr>
        <p:spPr>
          <a:xfrm flipH="1">
            <a:off x="7861618" y="272850"/>
            <a:ext cx="1759200" cy="749100"/>
          </a:xfrm>
          <a:prstGeom prst="parallelogram">
            <a:avLst>
              <a:gd name="adj" fmla="val 51542"/>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9" name="Shape 69"/>
          <p:cNvSpPr/>
          <p:nvPr/>
        </p:nvSpPr>
        <p:spPr>
          <a:xfrm flipH="1">
            <a:off x="990375" y="4925850"/>
            <a:ext cx="8369700" cy="228000"/>
          </a:xfrm>
          <a:prstGeom prst="parallelogram">
            <a:avLst>
              <a:gd name="adj" fmla="val 51542"/>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70" name="Shape 70"/>
          <p:cNvSpPr txBox="1">
            <a:spLocks noGrp="1"/>
          </p:cNvSpPr>
          <p:nvPr>
            <p:ph type="title"/>
          </p:nvPr>
        </p:nvSpPr>
        <p:spPr>
          <a:xfrm>
            <a:off x="1104900" y="276075"/>
            <a:ext cx="6724500" cy="749100"/>
          </a:xfrm>
          <a:prstGeom prst="rect">
            <a:avLst/>
          </a:prstGeom>
        </p:spPr>
        <p:txBody>
          <a:bodyPr spcFirstLastPara="1" wrap="square" lIns="91425" tIns="91425" rIns="91425" bIns="91425" anchor="ctr" anchorCtr="0"/>
          <a:lstStyle>
            <a:lvl1pPr lvl="0">
              <a:spcBef>
                <a:spcPts val="0"/>
              </a:spcBef>
              <a:spcAft>
                <a:spcPts val="0"/>
              </a:spcAft>
              <a:buSzPts val="2400"/>
              <a:buNone/>
              <a:defRPr/>
            </a:lvl1pPr>
            <a:lvl2pPr lvl="1">
              <a:spcBef>
                <a:spcPts val="0"/>
              </a:spcBef>
              <a:spcAft>
                <a:spcPts val="0"/>
              </a:spcAft>
              <a:buSzPts val="2400"/>
              <a:buNone/>
              <a:defRPr/>
            </a:lvl2pPr>
            <a:lvl3pPr lvl="2">
              <a:spcBef>
                <a:spcPts val="0"/>
              </a:spcBef>
              <a:spcAft>
                <a:spcPts val="0"/>
              </a:spcAft>
              <a:buSzPts val="2400"/>
              <a:buNone/>
              <a:defRPr/>
            </a:lvl3pPr>
            <a:lvl4pPr lvl="3">
              <a:spcBef>
                <a:spcPts val="0"/>
              </a:spcBef>
              <a:spcAft>
                <a:spcPts val="0"/>
              </a:spcAft>
              <a:buSzPts val="2400"/>
              <a:buNone/>
              <a:defRPr/>
            </a:lvl4pPr>
            <a:lvl5pPr lvl="4">
              <a:spcBef>
                <a:spcPts val="0"/>
              </a:spcBef>
              <a:spcAft>
                <a:spcPts val="0"/>
              </a:spcAft>
              <a:buSzPts val="2400"/>
              <a:buNone/>
              <a:defRPr/>
            </a:lvl5pPr>
            <a:lvl6pPr lvl="5">
              <a:spcBef>
                <a:spcPts val="0"/>
              </a:spcBef>
              <a:spcAft>
                <a:spcPts val="0"/>
              </a:spcAft>
              <a:buSzPts val="2400"/>
              <a:buNone/>
              <a:defRPr/>
            </a:lvl6pPr>
            <a:lvl7pPr lvl="6">
              <a:spcBef>
                <a:spcPts val="0"/>
              </a:spcBef>
              <a:spcAft>
                <a:spcPts val="0"/>
              </a:spcAft>
              <a:buSzPts val="2400"/>
              <a:buNone/>
              <a:defRPr/>
            </a:lvl7pPr>
            <a:lvl8pPr lvl="7">
              <a:spcBef>
                <a:spcPts val="0"/>
              </a:spcBef>
              <a:spcAft>
                <a:spcPts val="0"/>
              </a:spcAft>
              <a:buSzPts val="2400"/>
              <a:buNone/>
              <a:defRPr/>
            </a:lvl8pPr>
            <a:lvl9pPr lvl="8">
              <a:spcBef>
                <a:spcPts val="0"/>
              </a:spcBef>
              <a:spcAft>
                <a:spcPts val="0"/>
              </a:spcAft>
              <a:buSzPts val="2400"/>
              <a:buNone/>
              <a:defRPr/>
            </a:lvl9pPr>
          </a:lstStyle>
          <a:p>
            <a:endParaRPr/>
          </a:p>
        </p:txBody>
      </p:sp>
      <p:sp>
        <p:nvSpPr>
          <p:cNvPr id="71" name="Shape 71"/>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81"/>
        <p:cNvGrpSpPr/>
        <p:nvPr/>
      </p:nvGrpSpPr>
      <p:grpSpPr>
        <a:xfrm>
          <a:off x="0" y="0"/>
          <a:ext cx="0" cy="0"/>
          <a:chOff x="0" y="0"/>
          <a:chExt cx="0" cy="0"/>
        </a:xfrm>
      </p:grpSpPr>
      <p:sp>
        <p:nvSpPr>
          <p:cNvPr id="82" name="Shape 82"/>
          <p:cNvSpPr/>
          <p:nvPr/>
        </p:nvSpPr>
        <p:spPr>
          <a:xfrm>
            <a:off x="-55075" y="-38100"/>
            <a:ext cx="3312625" cy="5214650"/>
          </a:xfrm>
          <a:custGeom>
            <a:avLst/>
            <a:gdLst/>
            <a:ahLst/>
            <a:cxnLst/>
            <a:rect l="0" t="0" r="0" b="0"/>
            <a:pathLst>
              <a:path w="132505" h="208586" extrusionOk="0">
                <a:moveTo>
                  <a:pt x="132505" y="207264"/>
                </a:moveTo>
                <a:lnTo>
                  <a:pt x="25063" y="0"/>
                </a:lnTo>
                <a:lnTo>
                  <a:pt x="0" y="202"/>
                </a:lnTo>
                <a:lnTo>
                  <a:pt x="1322" y="208586"/>
                </a:lnTo>
                <a:close/>
              </a:path>
            </a:pathLst>
          </a:custGeom>
          <a:solidFill>
            <a:srgbClr val="F3F3F3"/>
          </a:solidFill>
          <a:ln>
            <a:noFill/>
          </a:ln>
        </p:spPr>
      </p:sp>
      <p:sp>
        <p:nvSpPr>
          <p:cNvPr id="83" name="Shape 83"/>
          <p:cNvSpPr/>
          <p:nvPr/>
        </p:nvSpPr>
        <p:spPr>
          <a:xfrm flipH="1">
            <a:off x="742953" y="4406300"/>
            <a:ext cx="7505700" cy="749100"/>
          </a:xfrm>
          <a:prstGeom prst="parallelogram">
            <a:avLst>
              <a:gd name="adj" fmla="val 51542"/>
            </a:avLst>
          </a:prstGeom>
          <a:solidFill>
            <a:srgbClr val="22222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84" name="Shape 84"/>
          <p:cNvSpPr/>
          <p:nvPr/>
        </p:nvSpPr>
        <p:spPr>
          <a:xfrm flipH="1">
            <a:off x="7861618" y="4406300"/>
            <a:ext cx="1759200" cy="749100"/>
          </a:xfrm>
          <a:prstGeom prst="parallelogram">
            <a:avLst>
              <a:gd name="adj" fmla="val 51542"/>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85" name="Shape 85"/>
          <p:cNvSpPr/>
          <p:nvPr/>
        </p:nvSpPr>
        <p:spPr>
          <a:xfrm flipH="1">
            <a:off x="-903537" y="-17561"/>
            <a:ext cx="1759200" cy="749100"/>
          </a:xfrm>
          <a:prstGeom prst="parallelogram">
            <a:avLst>
              <a:gd name="adj" fmla="val 51542"/>
            </a:avLst>
          </a:prstGeom>
          <a:solidFill>
            <a:srgbClr val="22222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86" name="Shape 86"/>
          <p:cNvSpPr/>
          <p:nvPr/>
        </p:nvSpPr>
        <p:spPr>
          <a:xfrm flipH="1">
            <a:off x="472134" y="-9525"/>
            <a:ext cx="518400" cy="749100"/>
          </a:xfrm>
          <a:prstGeom prst="parallelogram">
            <a:avLst>
              <a:gd name="adj" fmla="val 75009"/>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87" name="Shape 87"/>
          <p:cNvSpPr txBox="1">
            <a:spLocks noGrp="1"/>
          </p:cNvSpPr>
          <p:nvPr>
            <p:ph type="body" idx="1"/>
          </p:nvPr>
        </p:nvSpPr>
        <p:spPr>
          <a:xfrm>
            <a:off x="1123950" y="4406300"/>
            <a:ext cx="6737400" cy="749100"/>
          </a:xfrm>
          <a:prstGeom prst="rect">
            <a:avLst/>
          </a:prstGeom>
        </p:spPr>
        <p:txBody>
          <a:bodyPr spcFirstLastPara="1" wrap="square" lIns="91425" tIns="91425" rIns="91425" bIns="91425" anchor="ctr" anchorCtr="0"/>
          <a:lstStyle>
            <a:lvl1pPr marL="457200" lvl="0" indent="-228600">
              <a:spcBef>
                <a:spcPts val="360"/>
              </a:spcBef>
              <a:spcAft>
                <a:spcPts val="0"/>
              </a:spcAft>
              <a:buClr>
                <a:srgbClr val="FFFFFF"/>
              </a:buClr>
              <a:buSzPts val="1800"/>
              <a:buNone/>
              <a:defRPr sz="1800">
                <a:solidFill>
                  <a:srgbClr val="FFFFFF"/>
                </a:solidFill>
              </a:defRPr>
            </a:lvl1pPr>
          </a:lstStyle>
          <a:p>
            <a:endParaRPr/>
          </a:p>
        </p:txBody>
      </p:sp>
      <p:sp>
        <p:nvSpPr>
          <p:cNvPr id="88" name="Shape 88"/>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9"/>
        <p:cNvGrpSpPr/>
        <p:nvPr/>
      </p:nvGrpSpPr>
      <p:grpSpPr>
        <a:xfrm>
          <a:off x="0" y="0"/>
          <a:ext cx="0" cy="0"/>
          <a:chOff x="0" y="0"/>
          <a:chExt cx="0" cy="0"/>
        </a:xfrm>
      </p:grpSpPr>
      <p:sp>
        <p:nvSpPr>
          <p:cNvPr id="90" name="Shape 90"/>
          <p:cNvSpPr/>
          <p:nvPr/>
        </p:nvSpPr>
        <p:spPr>
          <a:xfrm>
            <a:off x="-55075" y="-38100"/>
            <a:ext cx="3312625" cy="5214650"/>
          </a:xfrm>
          <a:custGeom>
            <a:avLst/>
            <a:gdLst/>
            <a:ahLst/>
            <a:cxnLst/>
            <a:rect l="0" t="0" r="0" b="0"/>
            <a:pathLst>
              <a:path w="132505" h="208586" extrusionOk="0">
                <a:moveTo>
                  <a:pt x="132505" y="207264"/>
                </a:moveTo>
                <a:lnTo>
                  <a:pt x="25063" y="0"/>
                </a:lnTo>
                <a:lnTo>
                  <a:pt x="0" y="202"/>
                </a:lnTo>
                <a:lnTo>
                  <a:pt x="1322" y="208586"/>
                </a:lnTo>
                <a:close/>
              </a:path>
            </a:pathLst>
          </a:custGeom>
          <a:solidFill>
            <a:srgbClr val="F3F3F3"/>
          </a:solidFill>
          <a:ln>
            <a:noFill/>
          </a:ln>
        </p:spPr>
      </p:sp>
      <p:sp>
        <p:nvSpPr>
          <p:cNvPr id="91" name="Shape 91"/>
          <p:cNvSpPr/>
          <p:nvPr/>
        </p:nvSpPr>
        <p:spPr>
          <a:xfrm flipH="1">
            <a:off x="-903537" y="-17561"/>
            <a:ext cx="1759200" cy="749100"/>
          </a:xfrm>
          <a:prstGeom prst="parallelogram">
            <a:avLst>
              <a:gd name="adj" fmla="val 51542"/>
            </a:avLst>
          </a:prstGeom>
          <a:solidFill>
            <a:srgbClr val="22222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2" name="Shape 92"/>
          <p:cNvSpPr/>
          <p:nvPr/>
        </p:nvSpPr>
        <p:spPr>
          <a:xfrm flipH="1">
            <a:off x="472134" y="-9525"/>
            <a:ext cx="518400" cy="749100"/>
          </a:xfrm>
          <a:prstGeom prst="parallelogram">
            <a:avLst>
              <a:gd name="adj" fmla="val 75009"/>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3" name="Shape 93"/>
          <p:cNvSpPr/>
          <p:nvPr/>
        </p:nvSpPr>
        <p:spPr>
          <a:xfrm flipH="1">
            <a:off x="990375" y="4925850"/>
            <a:ext cx="8369700" cy="228000"/>
          </a:xfrm>
          <a:prstGeom prst="parallelogram">
            <a:avLst>
              <a:gd name="adj" fmla="val 51542"/>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4" name="Shape 94"/>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1" name="Rectangle 10"/>
          <p:cNvSpPr/>
          <p:nvPr/>
        </p:nvSpPr>
        <p:spPr>
          <a:xfrm>
            <a:off x="0" y="2900190"/>
            <a:ext cx="9144000" cy="224331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p>
        </p:txBody>
      </p:sp>
      <p:sp>
        <p:nvSpPr>
          <p:cNvPr id="12" name="Rectangle 11"/>
          <p:cNvSpPr/>
          <p:nvPr/>
        </p:nvSpPr>
        <p:spPr>
          <a:xfrm>
            <a:off x="0" y="0"/>
            <a:ext cx="9144000" cy="290019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dirty="0"/>
          </a:p>
        </p:txBody>
      </p:sp>
      <p:sp>
        <p:nvSpPr>
          <p:cNvPr id="13" name="Rectangle 12"/>
          <p:cNvSpPr/>
          <p:nvPr/>
        </p:nvSpPr>
        <p:spPr>
          <a:xfrm>
            <a:off x="0" y="1989233"/>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p>
        </p:txBody>
      </p:sp>
      <p:sp>
        <p:nvSpPr>
          <p:cNvPr id="14" name="Oval 13"/>
          <p:cNvSpPr/>
          <p:nvPr/>
        </p:nvSpPr>
        <p:spPr>
          <a:xfrm>
            <a:off x="0" y="1200150"/>
            <a:ext cx="9144000" cy="382905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400"/>
          </a:p>
        </p:txBody>
      </p:sp>
      <p:sp>
        <p:nvSpPr>
          <p:cNvPr id="3" name="Subtitle 2"/>
          <p:cNvSpPr>
            <a:spLocks noGrp="1"/>
          </p:cNvSpPr>
          <p:nvPr>
            <p:ph type="subTitle" idx="1"/>
          </p:nvPr>
        </p:nvSpPr>
        <p:spPr>
          <a:xfrm>
            <a:off x="1473795" y="3789410"/>
            <a:ext cx="5637010" cy="661589"/>
          </a:xfrm>
        </p:spPr>
        <p:txBody>
          <a:bodyPr>
            <a:normAutofit/>
          </a:bodyPr>
          <a:lstStyle>
            <a:lvl1pPr marL="0" indent="0" algn="l">
              <a:buNone/>
              <a:defRPr sz="170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6172200" y="4629151"/>
            <a:ext cx="2514600" cy="273844"/>
          </a:xfrm>
          <a:prstGeom prst="rect">
            <a:avLst/>
          </a:prstGeom>
        </p:spPr>
        <p:txBody>
          <a:bodyPr lIns="68580" tIns="34290" rIns="68580" bIns="34290"/>
          <a:lstStyle/>
          <a:p>
            <a:endParaRPr lang="en-US"/>
          </a:p>
        </p:txBody>
      </p:sp>
      <p:sp>
        <p:nvSpPr>
          <p:cNvPr id="5" name="Footer Placeholder 4"/>
          <p:cNvSpPr>
            <a:spLocks noGrp="1"/>
          </p:cNvSpPr>
          <p:nvPr>
            <p:ph type="ftr" sz="quarter" idx="11"/>
          </p:nvPr>
        </p:nvSpPr>
        <p:spPr>
          <a:xfrm>
            <a:off x="457200" y="4629151"/>
            <a:ext cx="3352801" cy="273844"/>
          </a:xfrm>
          <a:prstGeom prst="rect">
            <a:avLst/>
          </a:prstGeom>
        </p:spPr>
        <p:txBody>
          <a:bodyPr lIns="68580" tIns="34290" rIns="68580" bIns="34290"/>
          <a:lstStyle/>
          <a:p>
            <a:endParaRPr lang="en-US"/>
          </a:p>
        </p:txBody>
      </p:sp>
      <p:sp>
        <p:nvSpPr>
          <p:cNvPr id="6" name="Slide Number Placeholder 5"/>
          <p:cNvSpPr>
            <a:spLocks noGrp="1"/>
          </p:cNvSpPr>
          <p:nvPr>
            <p:ph type="sldNum" sz="quarter" idx="12"/>
          </p:nvPr>
        </p:nvSpPr>
        <p:spPr/>
        <p:txBody>
          <a:bodyPr/>
          <a:lstStyle/>
          <a:p>
            <a:fld id="{C2B08058-65E1-47CC-B439-669B9CE8E2AC}" type="slidenum">
              <a:rPr lang="en-US" smtClean="0"/>
              <a:t>‹#›</a:t>
            </a:fld>
            <a:endParaRPr lang="en-US"/>
          </a:p>
        </p:txBody>
      </p:sp>
      <p:sp>
        <p:nvSpPr>
          <p:cNvPr id="2" name="Title 1"/>
          <p:cNvSpPr>
            <a:spLocks noGrp="1"/>
          </p:cNvSpPr>
          <p:nvPr>
            <p:ph type="ctrTitle"/>
          </p:nvPr>
        </p:nvSpPr>
        <p:spPr>
          <a:xfrm>
            <a:off x="817582" y="2349218"/>
            <a:ext cx="7175351" cy="1344875"/>
          </a:xfrm>
          <a:effectLst/>
        </p:spPr>
        <p:txBody>
          <a:bodyPr>
            <a:noAutofit/>
          </a:bodyPr>
          <a:lstStyle>
            <a:lvl1pPr marL="480060" indent="-342900" algn="l">
              <a:defRPr sz="4100"/>
            </a:lvl1pPr>
          </a:lstStyle>
          <a:p>
            <a:r>
              <a:rPr lang="en-US" smtClean="0"/>
              <a:t>Click to edit Master title style</a:t>
            </a:r>
            <a:endParaRPr lang="en-US" dirty="0"/>
          </a:p>
        </p:txBody>
      </p:sp>
    </p:spTree>
    <p:extLst>
      <p:ext uri="{BB962C8B-B14F-4D97-AF65-F5344CB8AC3E}">
        <p14:creationId xmlns:p14="http://schemas.microsoft.com/office/powerpoint/2010/main" val="128498708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inverted">
  <p:cSld name="Blank inverted">
    <p:bg>
      <p:bgPr>
        <a:solidFill>
          <a:srgbClr val="222222"/>
        </a:solidFill>
        <a:effectLst/>
      </p:bgPr>
    </p:bg>
    <p:spTree>
      <p:nvGrpSpPr>
        <p:cNvPr id="1" name="Shape 95"/>
        <p:cNvGrpSpPr/>
        <p:nvPr/>
      </p:nvGrpSpPr>
      <p:grpSpPr>
        <a:xfrm>
          <a:off x="0" y="0"/>
          <a:ext cx="0" cy="0"/>
          <a:chOff x="0" y="0"/>
          <a:chExt cx="0" cy="0"/>
        </a:xfrm>
      </p:grpSpPr>
      <p:sp>
        <p:nvSpPr>
          <p:cNvPr id="96" name="Shape 96"/>
          <p:cNvSpPr/>
          <p:nvPr/>
        </p:nvSpPr>
        <p:spPr>
          <a:xfrm>
            <a:off x="-55075" y="-38100"/>
            <a:ext cx="3312625" cy="5214650"/>
          </a:xfrm>
          <a:custGeom>
            <a:avLst/>
            <a:gdLst/>
            <a:ahLst/>
            <a:cxnLst/>
            <a:rect l="0" t="0" r="0" b="0"/>
            <a:pathLst>
              <a:path w="132505" h="208586" extrusionOk="0">
                <a:moveTo>
                  <a:pt x="132505" y="207264"/>
                </a:moveTo>
                <a:lnTo>
                  <a:pt x="25063" y="0"/>
                </a:lnTo>
                <a:lnTo>
                  <a:pt x="0" y="202"/>
                </a:lnTo>
                <a:lnTo>
                  <a:pt x="1322" y="208586"/>
                </a:lnTo>
                <a:close/>
              </a:path>
            </a:pathLst>
          </a:custGeom>
          <a:solidFill>
            <a:srgbClr val="333333"/>
          </a:solidFill>
          <a:ln>
            <a:noFill/>
          </a:ln>
        </p:spPr>
      </p:sp>
      <p:sp>
        <p:nvSpPr>
          <p:cNvPr id="97" name="Shape 97"/>
          <p:cNvSpPr/>
          <p:nvPr/>
        </p:nvSpPr>
        <p:spPr>
          <a:xfrm flipH="1">
            <a:off x="-903537" y="-17561"/>
            <a:ext cx="1759200" cy="749100"/>
          </a:xfrm>
          <a:prstGeom prst="parallelogram">
            <a:avLst>
              <a:gd name="adj" fmla="val 51542"/>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8" name="Shape 98"/>
          <p:cNvSpPr/>
          <p:nvPr/>
        </p:nvSpPr>
        <p:spPr>
          <a:xfrm flipH="1">
            <a:off x="472134" y="-9525"/>
            <a:ext cx="518400" cy="749100"/>
          </a:xfrm>
          <a:prstGeom prst="parallelogram">
            <a:avLst>
              <a:gd name="adj" fmla="val 75009"/>
            </a:avLst>
          </a:prstGeom>
          <a:solidFill>
            <a:srgbClr val="FFFFFF"/>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9" name="Shape 99"/>
          <p:cNvSpPr/>
          <p:nvPr/>
        </p:nvSpPr>
        <p:spPr>
          <a:xfrm flipH="1">
            <a:off x="990375" y="4925850"/>
            <a:ext cx="8369700" cy="228000"/>
          </a:xfrm>
          <a:prstGeom prst="parallelogram">
            <a:avLst>
              <a:gd name="adj" fmla="val 51542"/>
            </a:avLst>
          </a:prstGeom>
          <a:solidFill>
            <a:srgbClr val="FF87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00" name="Shape 100"/>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585618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1104900" y="276075"/>
            <a:ext cx="6724500" cy="749100"/>
          </a:xfrm>
          <a:prstGeom prst="rect">
            <a:avLst/>
          </a:prstGeom>
          <a:noFill/>
          <a:ln>
            <a:noFill/>
          </a:ln>
        </p:spPr>
        <p:txBody>
          <a:bodyPr spcFirstLastPara="1" wrap="square" lIns="91425" tIns="91425" rIns="91425" bIns="91425" anchor="ctr" anchorCtr="0"/>
          <a:lstStyle>
            <a:lvl1pPr lvl="0">
              <a:spcBef>
                <a:spcPts val="0"/>
              </a:spcBef>
              <a:spcAft>
                <a:spcPts val="0"/>
              </a:spcAft>
              <a:buClr>
                <a:srgbClr val="FFFFFF"/>
              </a:buClr>
              <a:buSzPts val="2400"/>
              <a:buFont typeface="Dosis"/>
              <a:buNone/>
              <a:defRPr sz="2400">
                <a:solidFill>
                  <a:srgbClr val="FFFFFF"/>
                </a:solidFill>
                <a:latin typeface="Dosis"/>
                <a:ea typeface="Dosis"/>
                <a:cs typeface="Dosis"/>
                <a:sym typeface="Dosis"/>
              </a:defRPr>
            </a:lvl1pPr>
            <a:lvl2pPr lvl="1">
              <a:spcBef>
                <a:spcPts val="0"/>
              </a:spcBef>
              <a:spcAft>
                <a:spcPts val="0"/>
              </a:spcAft>
              <a:buClr>
                <a:srgbClr val="FFFFFF"/>
              </a:buClr>
              <a:buSzPts val="2400"/>
              <a:buFont typeface="Dosis"/>
              <a:buNone/>
              <a:defRPr sz="2400">
                <a:solidFill>
                  <a:srgbClr val="FFFFFF"/>
                </a:solidFill>
                <a:latin typeface="Dosis"/>
                <a:ea typeface="Dosis"/>
                <a:cs typeface="Dosis"/>
                <a:sym typeface="Dosis"/>
              </a:defRPr>
            </a:lvl2pPr>
            <a:lvl3pPr lvl="2">
              <a:spcBef>
                <a:spcPts val="0"/>
              </a:spcBef>
              <a:spcAft>
                <a:spcPts val="0"/>
              </a:spcAft>
              <a:buClr>
                <a:srgbClr val="FFFFFF"/>
              </a:buClr>
              <a:buSzPts val="2400"/>
              <a:buFont typeface="Dosis"/>
              <a:buNone/>
              <a:defRPr sz="2400">
                <a:solidFill>
                  <a:srgbClr val="FFFFFF"/>
                </a:solidFill>
                <a:latin typeface="Dosis"/>
                <a:ea typeface="Dosis"/>
                <a:cs typeface="Dosis"/>
                <a:sym typeface="Dosis"/>
              </a:defRPr>
            </a:lvl3pPr>
            <a:lvl4pPr lvl="3">
              <a:spcBef>
                <a:spcPts val="0"/>
              </a:spcBef>
              <a:spcAft>
                <a:spcPts val="0"/>
              </a:spcAft>
              <a:buClr>
                <a:srgbClr val="FFFFFF"/>
              </a:buClr>
              <a:buSzPts val="2400"/>
              <a:buFont typeface="Dosis"/>
              <a:buNone/>
              <a:defRPr sz="2400">
                <a:solidFill>
                  <a:srgbClr val="FFFFFF"/>
                </a:solidFill>
                <a:latin typeface="Dosis"/>
                <a:ea typeface="Dosis"/>
                <a:cs typeface="Dosis"/>
                <a:sym typeface="Dosis"/>
              </a:defRPr>
            </a:lvl4pPr>
            <a:lvl5pPr lvl="4">
              <a:spcBef>
                <a:spcPts val="0"/>
              </a:spcBef>
              <a:spcAft>
                <a:spcPts val="0"/>
              </a:spcAft>
              <a:buClr>
                <a:srgbClr val="FFFFFF"/>
              </a:buClr>
              <a:buSzPts val="2400"/>
              <a:buFont typeface="Dosis"/>
              <a:buNone/>
              <a:defRPr sz="2400">
                <a:solidFill>
                  <a:srgbClr val="FFFFFF"/>
                </a:solidFill>
                <a:latin typeface="Dosis"/>
                <a:ea typeface="Dosis"/>
                <a:cs typeface="Dosis"/>
                <a:sym typeface="Dosis"/>
              </a:defRPr>
            </a:lvl5pPr>
            <a:lvl6pPr lvl="5">
              <a:spcBef>
                <a:spcPts val="0"/>
              </a:spcBef>
              <a:spcAft>
                <a:spcPts val="0"/>
              </a:spcAft>
              <a:buClr>
                <a:srgbClr val="FFFFFF"/>
              </a:buClr>
              <a:buSzPts val="2400"/>
              <a:buFont typeface="Dosis"/>
              <a:buNone/>
              <a:defRPr sz="2400">
                <a:solidFill>
                  <a:srgbClr val="FFFFFF"/>
                </a:solidFill>
                <a:latin typeface="Dosis"/>
                <a:ea typeface="Dosis"/>
                <a:cs typeface="Dosis"/>
                <a:sym typeface="Dosis"/>
              </a:defRPr>
            </a:lvl6pPr>
            <a:lvl7pPr lvl="6">
              <a:spcBef>
                <a:spcPts val="0"/>
              </a:spcBef>
              <a:spcAft>
                <a:spcPts val="0"/>
              </a:spcAft>
              <a:buClr>
                <a:srgbClr val="FFFFFF"/>
              </a:buClr>
              <a:buSzPts val="2400"/>
              <a:buFont typeface="Dosis"/>
              <a:buNone/>
              <a:defRPr sz="2400">
                <a:solidFill>
                  <a:srgbClr val="FFFFFF"/>
                </a:solidFill>
                <a:latin typeface="Dosis"/>
                <a:ea typeface="Dosis"/>
                <a:cs typeface="Dosis"/>
                <a:sym typeface="Dosis"/>
              </a:defRPr>
            </a:lvl7pPr>
            <a:lvl8pPr lvl="7">
              <a:spcBef>
                <a:spcPts val="0"/>
              </a:spcBef>
              <a:spcAft>
                <a:spcPts val="0"/>
              </a:spcAft>
              <a:buClr>
                <a:srgbClr val="FFFFFF"/>
              </a:buClr>
              <a:buSzPts val="2400"/>
              <a:buFont typeface="Dosis"/>
              <a:buNone/>
              <a:defRPr sz="2400">
                <a:solidFill>
                  <a:srgbClr val="FFFFFF"/>
                </a:solidFill>
                <a:latin typeface="Dosis"/>
                <a:ea typeface="Dosis"/>
                <a:cs typeface="Dosis"/>
                <a:sym typeface="Dosis"/>
              </a:defRPr>
            </a:lvl8pPr>
            <a:lvl9pPr lvl="8">
              <a:spcBef>
                <a:spcPts val="0"/>
              </a:spcBef>
              <a:spcAft>
                <a:spcPts val="0"/>
              </a:spcAft>
              <a:buClr>
                <a:srgbClr val="FFFFFF"/>
              </a:buClr>
              <a:buSzPts val="2400"/>
              <a:buFont typeface="Dosis"/>
              <a:buNone/>
              <a:defRPr sz="2400">
                <a:solidFill>
                  <a:srgbClr val="FFFFFF"/>
                </a:solidFill>
                <a:latin typeface="Dosis"/>
                <a:ea typeface="Dosis"/>
                <a:cs typeface="Dosis"/>
                <a:sym typeface="Dosis"/>
              </a:defRPr>
            </a:lvl9pPr>
          </a:lstStyle>
          <a:p>
            <a:endParaRPr/>
          </a:p>
        </p:txBody>
      </p:sp>
      <p:sp>
        <p:nvSpPr>
          <p:cNvPr id="7" name="Shape 7"/>
          <p:cNvSpPr txBox="1">
            <a:spLocks noGrp="1"/>
          </p:cNvSpPr>
          <p:nvPr>
            <p:ph type="body" idx="1"/>
          </p:nvPr>
        </p:nvSpPr>
        <p:spPr>
          <a:xfrm>
            <a:off x="1104900" y="1200150"/>
            <a:ext cx="7581900" cy="3725700"/>
          </a:xfrm>
          <a:prstGeom prst="rect">
            <a:avLst/>
          </a:prstGeom>
          <a:noFill/>
          <a:ln>
            <a:noFill/>
          </a:ln>
        </p:spPr>
        <p:txBody>
          <a:bodyPr spcFirstLastPara="1" wrap="square" lIns="91425" tIns="91425" rIns="91425" bIns="91425" anchor="t" anchorCtr="0"/>
          <a:lstStyle>
            <a:lvl1pPr marL="457200" lvl="0" indent="-419100">
              <a:spcBef>
                <a:spcPts val="600"/>
              </a:spcBef>
              <a:spcAft>
                <a:spcPts val="0"/>
              </a:spcAft>
              <a:buClr>
                <a:srgbClr val="FF8700"/>
              </a:buClr>
              <a:buSzPts val="3000"/>
              <a:buFont typeface="Roboto"/>
              <a:buChar char="▸"/>
              <a:defRPr sz="3000">
                <a:solidFill>
                  <a:srgbClr val="222222"/>
                </a:solidFill>
                <a:latin typeface="Roboto"/>
                <a:ea typeface="Roboto"/>
                <a:cs typeface="Roboto"/>
                <a:sym typeface="Roboto"/>
              </a:defRPr>
            </a:lvl1pPr>
            <a:lvl2pPr marL="914400" lvl="1" indent="-381000">
              <a:spcBef>
                <a:spcPts val="0"/>
              </a:spcBef>
              <a:spcAft>
                <a:spcPts val="0"/>
              </a:spcAft>
              <a:buClr>
                <a:srgbClr val="FF8700"/>
              </a:buClr>
              <a:buSzPts val="2400"/>
              <a:buFont typeface="Roboto"/>
              <a:buChar char="▹"/>
              <a:defRPr sz="2400">
                <a:solidFill>
                  <a:srgbClr val="222222"/>
                </a:solidFill>
                <a:latin typeface="Roboto"/>
                <a:ea typeface="Roboto"/>
                <a:cs typeface="Roboto"/>
                <a:sym typeface="Roboto"/>
              </a:defRPr>
            </a:lvl2pPr>
            <a:lvl3pPr marL="1371600" lvl="2" indent="-381000">
              <a:spcBef>
                <a:spcPts val="0"/>
              </a:spcBef>
              <a:spcAft>
                <a:spcPts val="0"/>
              </a:spcAft>
              <a:buClr>
                <a:srgbClr val="FF8700"/>
              </a:buClr>
              <a:buSzPts val="2400"/>
              <a:buFont typeface="Roboto"/>
              <a:buChar char="▹"/>
              <a:defRPr sz="2400">
                <a:solidFill>
                  <a:srgbClr val="222222"/>
                </a:solidFill>
                <a:latin typeface="Roboto"/>
                <a:ea typeface="Roboto"/>
                <a:cs typeface="Roboto"/>
                <a:sym typeface="Roboto"/>
              </a:defRPr>
            </a:lvl3pPr>
            <a:lvl4pPr marL="1828800" lvl="3" indent="-342900">
              <a:spcBef>
                <a:spcPts val="0"/>
              </a:spcBef>
              <a:spcAft>
                <a:spcPts val="0"/>
              </a:spcAft>
              <a:buClr>
                <a:srgbClr val="FF8700"/>
              </a:buClr>
              <a:buSzPts val="1800"/>
              <a:buFont typeface="Roboto"/>
              <a:buChar char="▹"/>
              <a:defRPr sz="1800">
                <a:solidFill>
                  <a:srgbClr val="222222"/>
                </a:solidFill>
                <a:latin typeface="Roboto"/>
                <a:ea typeface="Roboto"/>
                <a:cs typeface="Roboto"/>
                <a:sym typeface="Roboto"/>
              </a:defRPr>
            </a:lvl4pPr>
            <a:lvl5pPr marL="2286000" lvl="4" indent="-342900">
              <a:spcBef>
                <a:spcPts val="0"/>
              </a:spcBef>
              <a:spcAft>
                <a:spcPts val="0"/>
              </a:spcAft>
              <a:buClr>
                <a:srgbClr val="FF8700"/>
              </a:buClr>
              <a:buSzPts val="1800"/>
              <a:buFont typeface="Roboto"/>
              <a:buChar char="▹"/>
              <a:defRPr sz="1800">
                <a:solidFill>
                  <a:srgbClr val="222222"/>
                </a:solidFill>
                <a:latin typeface="Roboto"/>
                <a:ea typeface="Roboto"/>
                <a:cs typeface="Roboto"/>
                <a:sym typeface="Roboto"/>
              </a:defRPr>
            </a:lvl5pPr>
            <a:lvl6pPr marL="2743200" lvl="5" indent="-342900">
              <a:spcBef>
                <a:spcPts val="0"/>
              </a:spcBef>
              <a:spcAft>
                <a:spcPts val="0"/>
              </a:spcAft>
              <a:buClr>
                <a:srgbClr val="FF8700"/>
              </a:buClr>
              <a:buSzPts val="1800"/>
              <a:buFont typeface="Roboto"/>
              <a:buChar char="▹"/>
              <a:defRPr sz="1800">
                <a:solidFill>
                  <a:srgbClr val="222222"/>
                </a:solidFill>
                <a:latin typeface="Roboto"/>
                <a:ea typeface="Roboto"/>
                <a:cs typeface="Roboto"/>
                <a:sym typeface="Roboto"/>
              </a:defRPr>
            </a:lvl6pPr>
            <a:lvl7pPr marL="3200400" lvl="6" indent="-342900">
              <a:spcBef>
                <a:spcPts val="0"/>
              </a:spcBef>
              <a:spcAft>
                <a:spcPts val="0"/>
              </a:spcAft>
              <a:buClr>
                <a:srgbClr val="FF8700"/>
              </a:buClr>
              <a:buSzPts val="1800"/>
              <a:buFont typeface="Roboto"/>
              <a:buChar char="▹"/>
              <a:defRPr sz="1800">
                <a:solidFill>
                  <a:srgbClr val="222222"/>
                </a:solidFill>
                <a:latin typeface="Roboto"/>
                <a:ea typeface="Roboto"/>
                <a:cs typeface="Roboto"/>
                <a:sym typeface="Roboto"/>
              </a:defRPr>
            </a:lvl7pPr>
            <a:lvl8pPr marL="3657600" lvl="7" indent="-342900">
              <a:spcBef>
                <a:spcPts val="0"/>
              </a:spcBef>
              <a:spcAft>
                <a:spcPts val="0"/>
              </a:spcAft>
              <a:buClr>
                <a:srgbClr val="FF8700"/>
              </a:buClr>
              <a:buSzPts val="1800"/>
              <a:buFont typeface="Roboto"/>
              <a:buChar char="▹"/>
              <a:defRPr sz="1800">
                <a:solidFill>
                  <a:srgbClr val="222222"/>
                </a:solidFill>
                <a:latin typeface="Roboto"/>
                <a:ea typeface="Roboto"/>
                <a:cs typeface="Roboto"/>
                <a:sym typeface="Roboto"/>
              </a:defRPr>
            </a:lvl8pPr>
            <a:lvl9pPr marL="4114800" lvl="8" indent="-342900">
              <a:spcBef>
                <a:spcPts val="0"/>
              </a:spcBef>
              <a:spcAft>
                <a:spcPts val="0"/>
              </a:spcAft>
              <a:buClr>
                <a:srgbClr val="FF8700"/>
              </a:buClr>
              <a:buSzPts val="1800"/>
              <a:buFont typeface="Roboto"/>
              <a:buChar char="▹"/>
              <a:defRPr sz="1800">
                <a:solidFill>
                  <a:srgbClr val="222222"/>
                </a:solidFill>
                <a:latin typeface="Roboto"/>
                <a:ea typeface="Roboto"/>
                <a:cs typeface="Roboto"/>
                <a:sym typeface="Roboto"/>
              </a:defRPr>
            </a:lvl9pPr>
          </a:lstStyle>
          <a:p>
            <a:endParaRPr/>
          </a:p>
        </p:txBody>
      </p:sp>
      <p:sp>
        <p:nvSpPr>
          <p:cNvPr id="8" name="Shape 8"/>
          <p:cNvSpPr txBox="1">
            <a:spLocks noGrp="1"/>
          </p:cNvSpPr>
          <p:nvPr>
            <p:ph type="sldNum" idx="12"/>
          </p:nvPr>
        </p:nvSpPr>
        <p:spPr>
          <a:xfrm>
            <a:off x="0" y="0"/>
            <a:ext cx="594900" cy="731700"/>
          </a:xfrm>
          <a:prstGeom prst="rect">
            <a:avLst/>
          </a:prstGeom>
          <a:noFill/>
          <a:ln>
            <a:noFill/>
          </a:ln>
        </p:spPr>
        <p:txBody>
          <a:bodyPr spcFirstLastPara="1" wrap="square" lIns="91425" tIns="91425" rIns="91425" bIns="91425" anchor="ctr" anchorCtr="0">
            <a:noAutofit/>
          </a:bodyPr>
          <a:lstStyle>
            <a:lvl1pPr lvl="0" algn="ctr">
              <a:buNone/>
              <a:defRPr sz="1300" b="1">
                <a:solidFill>
                  <a:srgbClr val="FFFFFF"/>
                </a:solidFill>
                <a:latin typeface="Roboto"/>
                <a:ea typeface="Roboto"/>
                <a:cs typeface="Roboto"/>
                <a:sym typeface="Roboto"/>
              </a:defRPr>
            </a:lvl1pPr>
            <a:lvl2pPr lvl="1" algn="ctr">
              <a:buNone/>
              <a:defRPr sz="1300" b="1">
                <a:solidFill>
                  <a:srgbClr val="FFFFFF"/>
                </a:solidFill>
                <a:latin typeface="Roboto"/>
                <a:ea typeface="Roboto"/>
                <a:cs typeface="Roboto"/>
                <a:sym typeface="Roboto"/>
              </a:defRPr>
            </a:lvl2pPr>
            <a:lvl3pPr lvl="2" algn="ctr">
              <a:buNone/>
              <a:defRPr sz="1300" b="1">
                <a:solidFill>
                  <a:srgbClr val="FFFFFF"/>
                </a:solidFill>
                <a:latin typeface="Roboto"/>
                <a:ea typeface="Roboto"/>
                <a:cs typeface="Roboto"/>
                <a:sym typeface="Roboto"/>
              </a:defRPr>
            </a:lvl3pPr>
            <a:lvl4pPr lvl="3" algn="ctr">
              <a:buNone/>
              <a:defRPr sz="1300" b="1">
                <a:solidFill>
                  <a:srgbClr val="FFFFFF"/>
                </a:solidFill>
                <a:latin typeface="Roboto"/>
                <a:ea typeface="Roboto"/>
                <a:cs typeface="Roboto"/>
                <a:sym typeface="Roboto"/>
              </a:defRPr>
            </a:lvl4pPr>
            <a:lvl5pPr lvl="4" algn="ctr">
              <a:buNone/>
              <a:defRPr sz="1300" b="1">
                <a:solidFill>
                  <a:srgbClr val="FFFFFF"/>
                </a:solidFill>
                <a:latin typeface="Roboto"/>
                <a:ea typeface="Roboto"/>
                <a:cs typeface="Roboto"/>
                <a:sym typeface="Roboto"/>
              </a:defRPr>
            </a:lvl5pPr>
            <a:lvl6pPr lvl="5" algn="ctr">
              <a:buNone/>
              <a:defRPr sz="1300" b="1">
                <a:solidFill>
                  <a:srgbClr val="FFFFFF"/>
                </a:solidFill>
                <a:latin typeface="Roboto"/>
                <a:ea typeface="Roboto"/>
                <a:cs typeface="Roboto"/>
                <a:sym typeface="Roboto"/>
              </a:defRPr>
            </a:lvl6pPr>
            <a:lvl7pPr lvl="6" algn="ctr">
              <a:buNone/>
              <a:defRPr sz="1300" b="1">
                <a:solidFill>
                  <a:srgbClr val="FFFFFF"/>
                </a:solidFill>
                <a:latin typeface="Roboto"/>
                <a:ea typeface="Roboto"/>
                <a:cs typeface="Roboto"/>
                <a:sym typeface="Roboto"/>
              </a:defRPr>
            </a:lvl7pPr>
            <a:lvl8pPr lvl="7" algn="ctr">
              <a:buNone/>
              <a:defRPr sz="1300" b="1">
                <a:solidFill>
                  <a:srgbClr val="FFFFFF"/>
                </a:solidFill>
                <a:latin typeface="Roboto"/>
                <a:ea typeface="Roboto"/>
                <a:cs typeface="Roboto"/>
                <a:sym typeface="Roboto"/>
              </a:defRPr>
            </a:lvl8pPr>
            <a:lvl9pPr lvl="8" algn="ctr">
              <a:buNone/>
              <a:defRPr sz="1300" b="1">
                <a:solidFill>
                  <a:srgbClr val="FFFFFF"/>
                </a:solidFill>
                <a:latin typeface="Roboto"/>
                <a:ea typeface="Roboto"/>
                <a:cs typeface="Roboto"/>
                <a:sym typeface="Roboto"/>
              </a:defRPr>
            </a:lvl9pPr>
          </a:lstStyle>
          <a:p>
            <a:pPr marL="0" lvl="0" indent="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51" r:id="rId2"/>
    <p:sldLayoutId id="2147483654" r:id="rId3"/>
    <p:sldLayoutId id="2147483656" r:id="rId4"/>
    <p:sldLayoutId id="2147483657" r:id="rId5"/>
    <p:sldLayoutId id="2147483660" r:id="rId6"/>
    <p:sldLayoutId id="2147483661" r:id="rId7"/>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 Id="rId9" Type="http://schemas.openxmlformats.org/officeDocument/2006/relationships/image" Target="../media/image16.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4.jpeg"/><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04"/>
        <p:cNvGrpSpPr/>
        <p:nvPr/>
      </p:nvGrpSpPr>
      <p:grpSpPr>
        <a:xfrm>
          <a:off x="0" y="0"/>
          <a:ext cx="0" cy="0"/>
          <a:chOff x="0" y="0"/>
          <a:chExt cx="0" cy="0"/>
        </a:xfrm>
      </p:grpSpPr>
      <p:sp>
        <p:nvSpPr>
          <p:cNvPr id="105" name="Shape 105"/>
          <p:cNvSpPr txBox="1">
            <a:spLocks noGrp="1"/>
          </p:cNvSpPr>
          <p:nvPr>
            <p:ph type="ctrTitle"/>
          </p:nvPr>
        </p:nvSpPr>
        <p:spPr>
          <a:xfrm>
            <a:off x="733500" y="1200150"/>
            <a:ext cx="4752900" cy="1752600"/>
          </a:xfrm>
          <a:prstGeom prst="rect">
            <a:avLst/>
          </a:prstGeom>
        </p:spPr>
        <p:txBody>
          <a:bodyPr spcFirstLastPara="1" wrap="square" lIns="91425" tIns="91425" rIns="91425" bIns="91425" anchor="b" anchorCtr="0">
            <a:noAutofit/>
          </a:bodyPr>
          <a:lstStyle/>
          <a:p>
            <a:pPr lvl="0" algn="ctr"/>
            <a:r>
              <a:rPr lang="en" sz="2800" dirty="0"/>
              <a:t>Implemetnation of Knowledge Sharing System </a:t>
            </a:r>
            <a:br>
              <a:rPr lang="en" sz="2800" dirty="0"/>
            </a:br>
            <a:endParaRPr sz="2800" dirty="0"/>
          </a:p>
        </p:txBody>
      </p:sp>
      <p:sp>
        <p:nvSpPr>
          <p:cNvPr id="2" name="TextBox 1"/>
          <p:cNvSpPr txBox="1"/>
          <p:nvPr/>
        </p:nvSpPr>
        <p:spPr>
          <a:xfrm>
            <a:off x="3886200" y="4781548"/>
            <a:ext cx="1676400" cy="307777"/>
          </a:xfrm>
          <a:prstGeom prst="rect">
            <a:avLst/>
          </a:prstGeom>
          <a:noFill/>
        </p:spPr>
        <p:txBody>
          <a:bodyPr wrap="square" rtlCol="0">
            <a:spAutoFit/>
          </a:bodyPr>
          <a:lstStyle/>
          <a:p>
            <a:pPr algn="ctr"/>
            <a:r>
              <a:rPr lang="en-US" b="1" dirty="0" smtClean="0">
                <a:solidFill>
                  <a:schemeClr val="bg1"/>
                </a:solidFill>
              </a:rPr>
              <a:t>28-July-2018</a:t>
            </a:r>
            <a:endParaRPr lang="en-US" b="1" dirty="0">
              <a:solidFill>
                <a:schemeClr val="bg1"/>
              </a:solidFill>
            </a:endParaRPr>
          </a:p>
        </p:txBody>
      </p:sp>
      <p:sp>
        <p:nvSpPr>
          <p:cNvPr id="3" name="TextBox 2"/>
          <p:cNvSpPr txBox="1"/>
          <p:nvPr/>
        </p:nvSpPr>
        <p:spPr>
          <a:xfrm>
            <a:off x="76200" y="3333750"/>
            <a:ext cx="6324600" cy="923330"/>
          </a:xfrm>
          <a:prstGeom prst="rect">
            <a:avLst/>
          </a:prstGeom>
          <a:noFill/>
        </p:spPr>
        <p:txBody>
          <a:bodyPr wrap="square" rtlCol="0">
            <a:spAutoFit/>
          </a:bodyPr>
          <a:lstStyle/>
          <a:p>
            <a:r>
              <a:rPr lang="en" sz="1800" dirty="0" smtClean="0">
                <a:solidFill>
                  <a:schemeClr val="bg1"/>
                </a:solidFill>
                <a:latin typeface="Dosis"/>
              </a:rPr>
              <a:t> </a:t>
            </a:r>
            <a:r>
              <a:rPr lang="en" sz="1800" b="1" dirty="0" smtClean="0">
                <a:solidFill>
                  <a:schemeClr val="bg1"/>
                </a:solidFill>
                <a:latin typeface="Dosis"/>
              </a:rPr>
              <a:t>Name</a:t>
            </a:r>
            <a:r>
              <a:rPr lang="en" sz="1800" dirty="0" smtClean="0">
                <a:solidFill>
                  <a:schemeClr val="bg1"/>
                </a:solidFill>
                <a:latin typeface="Dosis"/>
              </a:rPr>
              <a:t>:Hajir </a:t>
            </a:r>
            <a:r>
              <a:rPr lang="en" sz="1800" dirty="0">
                <a:solidFill>
                  <a:schemeClr val="bg1"/>
                </a:solidFill>
                <a:latin typeface="Dosis"/>
              </a:rPr>
              <a:t>Musa Ahmed Abdallah</a:t>
            </a:r>
            <a:endParaRPr lang="en" sz="1800" b="1" dirty="0" smtClean="0">
              <a:solidFill>
                <a:schemeClr val="bg1"/>
              </a:solidFill>
              <a:latin typeface="Dosis"/>
            </a:endParaRPr>
          </a:p>
          <a:p>
            <a:r>
              <a:rPr lang="en" sz="1800" b="1" dirty="0" smtClean="0">
                <a:solidFill>
                  <a:schemeClr val="bg1"/>
                </a:solidFill>
                <a:latin typeface="Dosis"/>
              </a:rPr>
              <a:t> Organization Name</a:t>
            </a:r>
            <a:r>
              <a:rPr lang="en" sz="1800" dirty="0" smtClean="0">
                <a:solidFill>
                  <a:schemeClr val="bg1"/>
                </a:solidFill>
                <a:latin typeface="Dosis"/>
              </a:rPr>
              <a:t>:National </a:t>
            </a:r>
            <a:r>
              <a:rPr lang="en" sz="1800" dirty="0">
                <a:solidFill>
                  <a:schemeClr val="bg1"/>
                </a:solidFill>
                <a:latin typeface="Dosis"/>
              </a:rPr>
              <a:t>Information </a:t>
            </a:r>
            <a:r>
              <a:rPr lang="en" sz="1800" dirty="0" smtClean="0">
                <a:solidFill>
                  <a:schemeClr val="bg1"/>
                </a:solidFill>
                <a:latin typeface="Dosis"/>
              </a:rPr>
              <a:t>Center(</a:t>
            </a:r>
            <a:r>
              <a:rPr lang="en" sz="1800" b="1" dirty="0" smtClean="0">
                <a:solidFill>
                  <a:schemeClr val="bg1"/>
                </a:solidFill>
                <a:latin typeface="Dosis"/>
              </a:rPr>
              <a:t>NIC</a:t>
            </a:r>
            <a:r>
              <a:rPr lang="en" sz="1800" dirty="0" smtClean="0">
                <a:solidFill>
                  <a:schemeClr val="bg1"/>
                </a:solidFill>
                <a:latin typeface="Dosis"/>
              </a:rPr>
              <a:t>)</a:t>
            </a:r>
            <a:r>
              <a:rPr lang="en" sz="1800" dirty="0">
                <a:solidFill>
                  <a:schemeClr val="bg1"/>
                </a:solidFill>
                <a:latin typeface="Dosis"/>
              </a:rPr>
              <a:t/>
            </a:r>
            <a:br>
              <a:rPr lang="en" sz="1800" dirty="0">
                <a:solidFill>
                  <a:schemeClr val="bg1"/>
                </a:solidFill>
                <a:latin typeface="Dosis"/>
              </a:rPr>
            </a:br>
            <a:endParaRPr lang="en-US" sz="1800" dirty="0">
              <a:solidFill>
                <a:schemeClr val="bg1"/>
              </a:solidFill>
              <a:latin typeface="Dosi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sp>
        <p:nvSpPr>
          <p:cNvPr id="139" name="Shape 139"/>
          <p:cNvSpPr txBox="1">
            <a:spLocks noGrp="1"/>
          </p:cNvSpPr>
          <p:nvPr>
            <p:ph type="title"/>
          </p:nvPr>
        </p:nvSpPr>
        <p:spPr>
          <a:xfrm>
            <a:off x="1104900" y="276075"/>
            <a:ext cx="6724500" cy="749100"/>
          </a:xfrm>
          <a:prstGeom prst="rect">
            <a:avLst/>
          </a:prstGeom>
        </p:spPr>
        <p:txBody>
          <a:bodyPr spcFirstLastPara="1" wrap="square" lIns="91425" tIns="91425" rIns="91425" bIns="91425" anchor="ctr" anchorCtr="0">
            <a:noAutofit/>
          </a:bodyPr>
          <a:lstStyle/>
          <a:p>
            <a:pPr lvl="0" algn="ctr"/>
            <a:r>
              <a:rPr lang="en-US" altLang="ja-JP" b="1" dirty="0">
                <a:solidFill>
                  <a:schemeClr val="bg1"/>
                </a:solidFill>
                <a:ea typeface="MS PGothic"/>
              </a:rPr>
              <a:t>Effect of the action </a:t>
            </a:r>
            <a:r>
              <a:rPr lang="en-US" altLang="ja-JP" b="1" dirty="0" smtClean="0">
                <a:solidFill>
                  <a:schemeClr val="bg1"/>
                </a:solidFill>
                <a:ea typeface="MS PGothic"/>
              </a:rPr>
              <a:t>plan(Qualitative)(1/2)</a:t>
            </a:r>
            <a:endParaRPr dirty="0">
              <a:solidFill>
                <a:schemeClr val="bg1"/>
              </a:solidFill>
            </a:endParaRPr>
          </a:p>
        </p:txBody>
      </p:sp>
      <p:sp>
        <p:nvSpPr>
          <p:cNvPr id="140" name="Shape 140"/>
          <p:cNvSpPr txBox="1">
            <a:spLocks noGrp="1"/>
          </p:cNvSpPr>
          <p:nvPr>
            <p:ph type="body" idx="1"/>
          </p:nvPr>
        </p:nvSpPr>
        <p:spPr>
          <a:xfrm>
            <a:off x="1219200" y="1200150"/>
            <a:ext cx="7581900" cy="3648300"/>
          </a:xfrm>
          <a:prstGeom prst="rect">
            <a:avLst/>
          </a:prstGeom>
        </p:spPr>
        <p:txBody>
          <a:bodyPr spcFirstLastPara="1" wrap="square" lIns="91425" tIns="91425" rIns="91425" bIns="91425" anchor="t" anchorCtr="0">
            <a:noAutofit/>
          </a:bodyPr>
          <a:lstStyle/>
          <a:p>
            <a:pPr marL="285750" indent="-285750">
              <a:lnSpc>
                <a:spcPct val="150000"/>
              </a:lnSpc>
              <a:buFont typeface="Wingdings" panose="05000000000000000000" pitchFamily="2" charset="2"/>
              <a:buChar char="Ø"/>
            </a:pPr>
            <a:r>
              <a:rPr lang="en-US" altLang="ja-JP" sz="1800" dirty="0" smtClean="0">
                <a:solidFill>
                  <a:schemeClr val="tx1"/>
                </a:solidFill>
                <a:cs typeface="Arial" panose="020B0604020202020204" pitchFamily="34" charset="0"/>
              </a:rPr>
              <a:t>Sharing experiences through system.</a:t>
            </a:r>
          </a:p>
          <a:p>
            <a:pPr marL="285750" indent="-285750">
              <a:lnSpc>
                <a:spcPct val="150000"/>
              </a:lnSpc>
              <a:buFont typeface="Wingdings" panose="05000000000000000000" pitchFamily="2" charset="2"/>
              <a:buChar char="Ø"/>
            </a:pPr>
            <a:r>
              <a:rPr lang="en-US" altLang="ja-JP" sz="1800" dirty="0" smtClean="0">
                <a:solidFill>
                  <a:schemeClr val="tx1"/>
                </a:solidFill>
                <a:cs typeface="Arial" panose="020B0604020202020204" pitchFamily="34" charset="0"/>
              </a:rPr>
              <a:t>Improvement of communication between staff.</a:t>
            </a:r>
          </a:p>
          <a:p>
            <a:pPr marL="285750" indent="-285750">
              <a:lnSpc>
                <a:spcPct val="150000"/>
              </a:lnSpc>
              <a:buFont typeface="Wingdings" panose="05000000000000000000" pitchFamily="2" charset="2"/>
              <a:buChar char="Ø"/>
            </a:pPr>
            <a:r>
              <a:rPr lang="en-US" altLang="ja-JP" sz="1800" dirty="0" smtClean="0">
                <a:solidFill>
                  <a:schemeClr val="tx1"/>
                </a:solidFill>
                <a:cs typeface="Arial" panose="020B0604020202020204" pitchFamily="34" charset="0"/>
              </a:rPr>
              <a:t>Increase efficiency and effectiveness of the work.</a:t>
            </a:r>
          </a:p>
          <a:p>
            <a:pPr marL="285750" indent="-285750">
              <a:lnSpc>
                <a:spcPct val="150000"/>
              </a:lnSpc>
              <a:buFont typeface="Wingdings" panose="05000000000000000000" pitchFamily="2" charset="2"/>
              <a:buChar char="Ø"/>
            </a:pPr>
            <a:r>
              <a:rPr lang="en-US" altLang="ja-JP" sz="1800" dirty="0" smtClean="0">
                <a:solidFill>
                  <a:schemeClr val="tx1"/>
                </a:solidFill>
                <a:cs typeface="Arial" panose="020B0604020202020204" pitchFamily="34" charset="0"/>
              </a:rPr>
              <a:t>Higher visibility of processes.</a:t>
            </a:r>
          </a:p>
          <a:p>
            <a:pPr marL="0" indent="0">
              <a:buNone/>
            </a:pPr>
            <a:endParaRPr lang="en-US" sz="1300" dirty="0" smtClean="0"/>
          </a:p>
          <a:p>
            <a:pPr marL="38100" lvl="0" indent="0" rtl="0">
              <a:spcBef>
                <a:spcPts val="600"/>
              </a:spcBef>
              <a:spcAft>
                <a:spcPts val="0"/>
              </a:spcAft>
              <a:buSzPts val="3000"/>
              <a:buNone/>
            </a:pPr>
            <a:endParaRPr sz="1300" dirty="0"/>
          </a:p>
        </p:txBody>
      </p:sp>
      <p:sp>
        <p:nvSpPr>
          <p:cNvPr id="141" name="Shape 141"/>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t>10</a:t>
            </a:fld>
            <a:endParaRPr dirty="0"/>
          </a:p>
        </p:txBody>
      </p:sp>
    </p:spTree>
    <p:extLst>
      <p:ext uri="{BB962C8B-B14F-4D97-AF65-F5344CB8AC3E}">
        <p14:creationId xmlns:p14="http://schemas.microsoft.com/office/powerpoint/2010/main" val="18699354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eaLnBrk="1" hangingPunct="1">
              <a:spcBef>
                <a:spcPct val="0"/>
              </a:spcBef>
            </a:pPr>
            <a:r>
              <a:rPr lang="en-US" altLang="ja-JP" b="1" dirty="0" smtClean="0">
                <a:solidFill>
                  <a:schemeClr val="bg1"/>
                </a:solidFill>
                <a:ea typeface="MS PGothic"/>
              </a:rPr>
              <a:t>Effect </a:t>
            </a:r>
            <a:r>
              <a:rPr lang="en-US" altLang="ja-JP" b="1" dirty="0">
                <a:solidFill>
                  <a:schemeClr val="bg1"/>
                </a:solidFill>
                <a:ea typeface="MS PGothic"/>
              </a:rPr>
              <a:t>of the action </a:t>
            </a:r>
            <a:r>
              <a:rPr lang="en-US" altLang="ja-JP" b="1" dirty="0" smtClean="0">
                <a:solidFill>
                  <a:schemeClr val="bg1"/>
                </a:solidFill>
                <a:ea typeface="MS PGothic"/>
              </a:rPr>
              <a:t>plan(Quantitative)(2/2)</a:t>
            </a:r>
            <a:endParaRPr lang="ja-JP" altLang="en-US" b="1" dirty="0">
              <a:solidFill>
                <a:schemeClr val="bg1"/>
              </a:solidFill>
            </a:endParaRPr>
          </a:p>
        </p:txBody>
      </p:sp>
      <p:sp>
        <p:nvSpPr>
          <p:cNvPr id="3" name="Slide Number Placeholder 2"/>
          <p:cNvSpPr>
            <a:spLocks noGrp="1"/>
          </p:cNvSpPr>
          <p:nvPr>
            <p:ph type="sldNum" idx="12"/>
          </p:nvPr>
        </p:nvSpPr>
        <p:spPr/>
        <p:txBody>
          <a:bodyPr/>
          <a:lstStyle/>
          <a:p>
            <a:pPr marL="0" lvl="0" indent="0">
              <a:spcBef>
                <a:spcPts val="0"/>
              </a:spcBef>
              <a:spcAft>
                <a:spcPts val="0"/>
              </a:spcAft>
              <a:buNone/>
            </a:pPr>
            <a:fld id="{00000000-1234-1234-1234-123412341234}" type="slidenum">
              <a:rPr lang="en" smtClean="0"/>
              <a:t>11</a:t>
            </a:fld>
            <a:endParaRPr lang="en" dirty="0"/>
          </a:p>
        </p:txBody>
      </p:sp>
      <p:sp>
        <p:nvSpPr>
          <p:cNvPr id="4" name="TextBox 3"/>
          <p:cNvSpPr txBox="1"/>
          <p:nvPr/>
        </p:nvSpPr>
        <p:spPr>
          <a:xfrm rot="16200000">
            <a:off x="796352" y="2502597"/>
            <a:ext cx="1066800" cy="307777"/>
          </a:xfrm>
          <a:prstGeom prst="rect">
            <a:avLst/>
          </a:prstGeom>
          <a:noFill/>
        </p:spPr>
        <p:txBody>
          <a:bodyPr wrap="square" rtlCol="0">
            <a:spAutoFit/>
          </a:bodyPr>
          <a:lstStyle/>
          <a:p>
            <a:r>
              <a:rPr lang="en-US" dirty="0" smtClean="0"/>
              <a:t>Minutes</a:t>
            </a:r>
            <a:endParaRPr lang="en-US" dirty="0"/>
          </a:p>
        </p:txBody>
      </p:sp>
      <p:graphicFrame>
        <p:nvGraphicFramePr>
          <p:cNvPr id="11" name="Chart 10"/>
          <p:cNvGraphicFramePr/>
          <p:nvPr>
            <p:extLst>
              <p:ext uri="{D42A27DB-BD31-4B8C-83A1-F6EECF244321}">
                <p14:modId xmlns:p14="http://schemas.microsoft.com/office/powerpoint/2010/main" val="3104216525"/>
              </p:ext>
            </p:extLst>
          </p:nvPr>
        </p:nvGraphicFramePr>
        <p:xfrm>
          <a:off x="1700743" y="1123950"/>
          <a:ext cx="5843057" cy="3835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630886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6"/>
          <p:cNvGraphicFramePr>
            <a:graphicFrameLocks noGrp="1"/>
          </p:cNvGraphicFramePr>
          <p:nvPr>
            <p:extLst>
              <p:ext uri="{D42A27DB-BD31-4B8C-83A1-F6EECF244321}">
                <p14:modId xmlns:p14="http://schemas.microsoft.com/office/powerpoint/2010/main" val="1810186251"/>
              </p:ext>
            </p:extLst>
          </p:nvPr>
        </p:nvGraphicFramePr>
        <p:xfrm>
          <a:off x="938207" y="1380467"/>
          <a:ext cx="7277106" cy="3369026"/>
        </p:xfrm>
        <a:graphic>
          <a:graphicData uri="http://schemas.openxmlformats.org/drawingml/2006/table">
            <a:tbl>
              <a:tblPr/>
              <a:tblGrid>
                <a:gridCol w="333375">
                  <a:extLst>
                    <a:ext uri="{9D8B030D-6E8A-4147-A177-3AD203B41FA5}">
                      <a16:colId xmlns="" xmlns:a16="http://schemas.microsoft.com/office/drawing/2014/main" val="20000"/>
                    </a:ext>
                  </a:extLst>
                </a:gridCol>
                <a:gridCol w="2083594">
                  <a:extLst>
                    <a:ext uri="{9D8B030D-6E8A-4147-A177-3AD203B41FA5}">
                      <a16:colId xmlns="" xmlns:a16="http://schemas.microsoft.com/office/drawing/2014/main" val="20001"/>
                    </a:ext>
                  </a:extLst>
                </a:gridCol>
                <a:gridCol w="404813">
                  <a:extLst>
                    <a:ext uri="{9D8B030D-6E8A-4147-A177-3AD203B41FA5}">
                      <a16:colId xmlns="" xmlns:a16="http://schemas.microsoft.com/office/drawing/2014/main" val="20002"/>
                    </a:ext>
                  </a:extLst>
                </a:gridCol>
                <a:gridCol w="404813">
                  <a:extLst>
                    <a:ext uri="{9D8B030D-6E8A-4147-A177-3AD203B41FA5}">
                      <a16:colId xmlns="" xmlns:a16="http://schemas.microsoft.com/office/drawing/2014/main" val="20003"/>
                    </a:ext>
                  </a:extLst>
                </a:gridCol>
                <a:gridCol w="406004">
                  <a:extLst>
                    <a:ext uri="{9D8B030D-6E8A-4147-A177-3AD203B41FA5}">
                      <a16:colId xmlns="" xmlns:a16="http://schemas.microsoft.com/office/drawing/2014/main" val="20004"/>
                    </a:ext>
                  </a:extLst>
                </a:gridCol>
                <a:gridCol w="404813">
                  <a:extLst>
                    <a:ext uri="{9D8B030D-6E8A-4147-A177-3AD203B41FA5}">
                      <a16:colId xmlns="" xmlns:a16="http://schemas.microsoft.com/office/drawing/2014/main" val="20005"/>
                    </a:ext>
                  </a:extLst>
                </a:gridCol>
                <a:gridCol w="404813">
                  <a:extLst>
                    <a:ext uri="{9D8B030D-6E8A-4147-A177-3AD203B41FA5}">
                      <a16:colId xmlns="" xmlns:a16="http://schemas.microsoft.com/office/drawing/2014/main" val="20006"/>
                    </a:ext>
                  </a:extLst>
                </a:gridCol>
                <a:gridCol w="404813">
                  <a:extLst>
                    <a:ext uri="{9D8B030D-6E8A-4147-A177-3AD203B41FA5}">
                      <a16:colId xmlns="" xmlns:a16="http://schemas.microsoft.com/office/drawing/2014/main" val="20007"/>
                    </a:ext>
                  </a:extLst>
                </a:gridCol>
                <a:gridCol w="404813">
                  <a:extLst>
                    <a:ext uri="{9D8B030D-6E8A-4147-A177-3AD203B41FA5}">
                      <a16:colId xmlns="" xmlns:a16="http://schemas.microsoft.com/office/drawing/2014/main" val="20008"/>
                    </a:ext>
                  </a:extLst>
                </a:gridCol>
                <a:gridCol w="404813">
                  <a:extLst>
                    <a:ext uri="{9D8B030D-6E8A-4147-A177-3AD203B41FA5}">
                      <a16:colId xmlns="" xmlns:a16="http://schemas.microsoft.com/office/drawing/2014/main" val="20009"/>
                    </a:ext>
                  </a:extLst>
                </a:gridCol>
                <a:gridCol w="406003">
                  <a:extLst>
                    <a:ext uri="{9D8B030D-6E8A-4147-A177-3AD203B41FA5}">
                      <a16:colId xmlns="" xmlns:a16="http://schemas.microsoft.com/office/drawing/2014/main" val="20010"/>
                    </a:ext>
                  </a:extLst>
                </a:gridCol>
                <a:gridCol w="404813">
                  <a:extLst>
                    <a:ext uri="{9D8B030D-6E8A-4147-A177-3AD203B41FA5}">
                      <a16:colId xmlns="" xmlns:a16="http://schemas.microsoft.com/office/drawing/2014/main" val="20011"/>
                    </a:ext>
                  </a:extLst>
                </a:gridCol>
                <a:gridCol w="404813">
                  <a:extLst>
                    <a:ext uri="{9D8B030D-6E8A-4147-A177-3AD203B41FA5}">
                      <a16:colId xmlns="" xmlns:a16="http://schemas.microsoft.com/office/drawing/2014/main" val="20012"/>
                    </a:ext>
                  </a:extLst>
                </a:gridCol>
                <a:gridCol w="404813">
                  <a:extLst>
                    <a:ext uri="{9D8B030D-6E8A-4147-A177-3AD203B41FA5}">
                      <a16:colId xmlns="" xmlns:a16="http://schemas.microsoft.com/office/drawing/2014/main" val="20013"/>
                    </a:ext>
                  </a:extLst>
                </a:gridCol>
              </a:tblGrid>
              <a:tr h="480146">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No.</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Phase</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July</a:t>
                      </a:r>
                    </a:p>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2018</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Jan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Feb</a:t>
                      </a:r>
                    </a:p>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Mar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Apr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May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Jun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Jul 2019</a:t>
                      </a:r>
                    </a:p>
                    <a:p>
                      <a:pPr marL="0" marR="0" lvl="0" indent="0" algn="ctr"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Aug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Sep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Oct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Nov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extLst>
                  <a:ext uri="{0D108BD9-81ED-4DB2-BD59-A6C34878D82A}">
                    <a16:rowId xmlns="" xmlns:a16="http://schemas.microsoft.com/office/drawing/2014/main" val="10000"/>
                  </a:ext>
                </a:extLst>
              </a:tr>
              <a:tr h="504367">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1</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Revise and get approval about my action plan</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439106">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2</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171450" marR="0" lvl="0" indent="-171450" algn="l" defTabSz="914400" rtl="0" eaLnBrk="1" fontAlgn="base" latinLnBrk="0" hangingPunct="1">
                        <a:lnSpc>
                          <a:spcPct val="100000"/>
                        </a:lnSpc>
                        <a:spcBef>
                          <a:spcPct val="0"/>
                        </a:spcBef>
                        <a:spcAft>
                          <a:spcPct val="0"/>
                        </a:spcAft>
                        <a:buClrTx/>
                        <a:buSzTx/>
                        <a:buFontTx/>
                        <a:buChar char="-"/>
                        <a:tabLst/>
                      </a:pPr>
                      <a:endParaRPr kumimoji="1" lang="en-US" altLang="ja-JP" sz="900" b="1"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0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 </a:t>
                      </a: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Requirement gathering &amp;analysis</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rgbClr val="FF0000"/>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37414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3</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Conducting developer Training</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rgbClr val="FF0000"/>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384539">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4</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1"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Design the system and database</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363753">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5</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Developing the system and implementation</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r h="474025">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6</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171450" marR="0" lvl="0" indent="-171450" algn="l" defTabSz="914400" rtl="0" eaLnBrk="1" fontAlgn="base" latinLnBrk="0" hangingPunct="1">
                        <a:lnSpc>
                          <a:spcPct val="100000"/>
                        </a:lnSpc>
                        <a:spcBef>
                          <a:spcPct val="0"/>
                        </a:spcBef>
                        <a:spcAft>
                          <a:spcPct val="0"/>
                        </a:spcAft>
                        <a:buClrTx/>
                        <a:buSzTx/>
                        <a:buFontTx/>
                        <a:buChar char="-"/>
                        <a:tabLst/>
                        <a:defRPr/>
                      </a:pPr>
                      <a:endParaRPr lang="en-US" altLang="ja-JP" sz="900" b="1" dirty="0" smtClean="0"/>
                    </a:p>
                    <a:p>
                      <a:pPr marL="0" marR="0" lvl="0" indent="0" algn="l" defTabSz="914400" rtl="0" eaLnBrk="1" fontAlgn="base" latinLnBrk="0" hangingPunct="1">
                        <a:lnSpc>
                          <a:spcPct val="100000"/>
                        </a:lnSpc>
                        <a:spcBef>
                          <a:spcPct val="0"/>
                        </a:spcBef>
                        <a:spcAft>
                          <a:spcPct val="0"/>
                        </a:spcAft>
                        <a:buClrTx/>
                        <a:buSzTx/>
                        <a:buFontTx/>
                        <a:buNone/>
                        <a:tabLst/>
                        <a:defRPr/>
                      </a:pPr>
                      <a:r>
                        <a:rPr lang="en-US" altLang="ja-JP" sz="900" dirty="0" smtClean="0"/>
                        <a:t>Change management plan &amp; user training</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6"/>
                  </a:ext>
                </a:extLst>
              </a:tr>
              <a:tr h="29481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7</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Evaluation of the action plan implementation</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8"/>
                  </a:ext>
                </a:extLst>
              </a:tr>
            </a:tbl>
          </a:graphicData>
        </a:graphic>
      </p:graphicFrame>
      <p:sp>
        <p:nvSpPr>
          <p:cNvPr id="28827" name="Rectangle 35"/>
          <p:cNvSpPr>
            <a:spLocks noChangeArrowheads="1"/>
          </p:cNvSpPr>
          <p:nvPr/>
        </p:nvSpPr>
        <p:spPr bwMode="auto">
          <a:xfrm>
            <a:off x="3345660" y="1885950"/>
            <a:ext cx="400050" cy="457200"/>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grpSp>
        <p:nvGrpSpPr>
          <p:cNvPr id="28828" name="グループ化 2"/>
          <p:cNvGrpSpPr>
            <a:grpSpLocks/>
          </p:cNvGrpSpPr>
          <p:nvPr/>
        </p:nvGrpSpPr>
        <p:grpSpPr bwMode="auto">
          <a:xfrm>
            <a:off x="2213374" y="1096094"/>
            <a:ext cx="2944415" cy="3659452"/>
            <a:chOff x="6658841" y="1333065"/>
            <a:chExt cx="3922888" cy="4873053"/>
          </a:xfrm>
        </p:grpSpPr>
        <p:cxnSp>
          <p:nvCxnSpPr>
            <p:cNvPr id="28836" name="直線コネクタ 5"/>
            <p:cNvCxnSpPr>
              <a:cxnSpLocks noChangeShapeType="1"/>
            </p:cNvCxnSpPr>
            <p:nvPr/>
          </p:nvCxnSpPr>
          <p:spPr bwMode="auto">
            <a:xfrm flipH="1">
              <a:off x="8700395" y="1658942"/>
              <a:ext cx="17453" cy="4547176"/>
            </a:xfrm>
            <a:prstGeom prst="line">
              <a:avLst/>
            </a:prstGeom>
            <a:noFill/>
            <a:ln w="50800" algn="ctr">
              <a:solidFill>
                <a:srgbClr val="FF0000"/>
              </a:solidFill>
              <a:prstDash val="sysDash"/>
              <a:round/>
              <a:headEnd/>
              <a:tailEnd/>
            </a:ln>
            <a:extLst>
              <a:ext uri="{909E8E84-426E-40DD-AFC4-6F175D3DCCD1}">
                <a14:hiddenFill xmlns:a14="http://schemas.microsoft.com/office/drawing/2010/main">
                  <a:noFill/>
                </a14:hiddenFill>
              </a:ext>
            </a:extLst>
          </p:spPr>
        </p:cxnSp>
        <p:sp>
          <p:nvSpPr>
            <p:cNvPr id="28837" name="テキスト ボックス 6"/>
            <p:cNvSpPr txBox="1">
              <a:spLocks noChangeArrowheads="1"/>
            </p:cNvSpPr>
            <p:nvPr/>
          </p:nvSpPr>
          <p:spPr bwMode="auto">
            <a:xfrm>
              <a:off x="6658841" y="1333065"/>
              <a:ext cx="3922888" cy="27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pPr algn="ctr" eaLnBrk="0" fontAlgn="base" hangingPunct="0">
                <a:spcBef>
                  <a:spcPct val="0"/>
                </a:spcBef>
                <a:spcAft>
                  <a:spcPct val="0"/>
                </a:spcAft>
              </a:pPr>
              <a:r>
                <a:rPr lang="en-US" altLang="ja-JP" sz="900" b="1" dirty="0">
                  <a:solidFill>
                    <a:srgbClr val="FF6600"/>
                  </a:solidFill>
                </a:rPr>
                <a:t>Beginning of the fiscal year</a:t>
              </a:r>
              <a:endParaRPr lang="ja-JP" altLang="en-US" sz="900" b="1" dirty="0">
                <a:solidFill>
                  <a:srgbClr val="FF6600"/>
                </a:solidFill>
              </a:endParaRPr>
            </a:p>
          </p:txBody>
        </p:sp>
      </p:grpSp>
      <p:sp>
        <p:nvSpPr>
          <p:cNvPr id="28829" name="Rectangle 35"/>
          <p:cNvSpPr>
            <a:spLocks noChangeArrowheads="1"/>
          </p:cNvSpPr>
          <p:nvPr/>
        </p:nvSpPr>
        <p:spPr bwMode="auto">
          <a:xfrm>
            <a:off x="3777855" y="2359660"/>
            <a:ext cx="964406" cy="457200"/>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0" name="Rectangle 35"/>
          <p:cNvSpPr>
            <a:spLocks noChangeArrowheads="1"/>
          </p:cNvSpPr>
          <p:nvPr/>
        </p:nvSpPr>
        <p:spPr bwMode="auto">
          <a:xfrm>
            <a:off x="5146678" y="3187409"/>
            <a:ext cx="838200" cy="382522"/>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1" name="Rectangle 35"/>
          <p:cNvSpPr>
            <a:spLocks noChangeArrowheads="1"/>
          </p:cNvSpPr>
          <p:nvPr/>
        </p:nvSpPr>
        <p:spPr bwMode="auto">
          <a:xfrm>
            <a:off x="5995988" y="3569931"/>
            <a:ext cx="1001316" cy="390526"/>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2" name="Rectangle 35"/>
          <p:cNvSpPr>
            <a:spLocks noChangeArrowheads="1"/>
          </p:cNvSpPr>
          <p:nvPr/>
        </p:nvSpPr>
        <p:spPr bwMode="auto">
          <a:xfrm>
            <a:off x="6997303" y="3925765"/>
            <a:ext cx="802481" cy="462401"/>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4" name="Rectangle 35"/>
          <p:cNvSpPr>
            <a:spLocks noChangeArrowheads="1"/>
          </p:cNvSpPr>
          <p:nvPr/>
        </p:nvSpPr>
        <p:spPr bwMode="auto">
          <a:xfrm>
            <a:off x="7799785" y="4388167"/>
            <a:ext cx="415528" cy="367378"/>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5" name="Rectangle 35"/>
          <p:cNvSpPr>
            <a:spLocks noChangeArrowheads="1"/>
          </p:cNvSpPr>
          <p:nvPr/>
        </p:nvSpPr>
        <p:spPr bwMode="auto">
          <a:xfrm>
            <a:off x="4742261" y="2816860"/>
            <a:ext cx="415528" cy="370549"/>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 name="Slide Number Placeholder 1"/>
          <p:cNvSpPr>
            <a:spLocks noGrp="1"/>
          </p:cNvSpPr>
          <p:nvPr>
            <p:ph type="sldNum" idx="12"/>
          </p:nvPr>
        </p:nvSpPr>
        <p:spPr/>
        <p:txBody>
          <a:bodyPr/>
          <a:lstStyle/>
          <a:p>
            <a:pPr>
              <a:defRPr/>
            </a:pPr>
            <a:fld id="{CF61FEA9-21D0-466D-A692-93066E95BE27}" type="slidenum">
              <a:rPr lang="en-US" altLang="ja-JP" smtClean="0"/>
              <a:pPr>
                <a:defRPr/>
              </a:pPr>
              <a:t>12</a:t>
            </a:fld>
            <a:endParaRPr lang="en-US" altLang="ja-JP"/>
          </a:p>
        </p:txBody>
      </p:sp>
      <p:sp>
        <p:nvSpPr>
          <p:cNvPr id="7" name="Rectangle 6"/>
          <p:cNvSpPr/>
          <p:nvPr/>
        </p:nvSpPr>
        <p:spPr>
          <a:xfrm>
            <a:off x="1033162" y="521451"/>
            <a:ext cx="7087197" cy="461665"/>
          </a:xfrm>
          <a:prstGeom prst="rect">
            <a:avLst/>
          </a:prstGeom>
        </p:spPr>
        <p:txBody>
          <a:bodyPr wrap="none">
            <a:spAutoFit/>
          </a:bodyPr>
          <a:lstStyle/>
          <a:p>
            <a:pPr algn="ctr" fontAlgn="base">
              <a:spcBef>
                <a:spcPct val="0"/>
              </a:spcBef>
              <a:spcAft>
                <a:spcPct val="0"/>
              </a:spcAft>
              <a:buNone/>
            </a:pPr>
            <a:r>
              <a:rPr lang="en-US" altLang="ja-JP" sz="2400" b="1" dirty="0">
                <a:solidFill>
                  <a:schemeClr val="bg1"/>
                </a:solidFill>
                <a:latin typeface="Dosis"/>
              </a:rPr>
              <a:t>Implementation schedule(In House developing)</a:t>
            </a:r>
            <a:endParaRPr lang="ja-JP" altLang="en-US" sz="2400" b="1" dirty="0">
              <a:solidFill>
                <a:schemeClr val="bg1"/>
              </a:solidFill>
              <a:latin typeface="Dosis"/>
            </a:endParaRPr>
          </a:p>
        </p:txBody>
      </p:sp>
    </p:spTree>
    <p:extLst>
      <p:ext uri="{BB962C8B-B14F-4D97-AF65-F5344CB8AC3E}">
        <p14:creationId xmlns:p14="http://schemas.microsoft.com/office/powerpoint/2010/main" val="41744627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6"/>
          <p:cNvGraphicFramePr>
            <a:graphicFrameLocks noGrp="1"/>
          </p:cNvGraphicFramePr>
          <p:nvPr>
            <p:extLst>
              <p:ext uri="{D42A27DB-BD31-4B8C-83A1-F6EECF244321}">
                <p14:modId xmlns:p14="http://schemas.microsoft.com/office/powerpoint/2010/main" val="963189381"/>
              </p:ext>
            </p:extLst>
          </p:nvPr>
        </p:nvGraphicFramePr>
        <p:xfrm>
          <a:off x="938207" y="1297350"/>
          <a:ext cx="7277106" cy="3464551"/>
        </p:xfrm>
        <a:graphic>
          <a:graphicData uri="http://schemas.openxmlformats.org/drawingml/2006/table">
            <a:tbl>
              <a:tblPr/>
              <a:tblGrid>
                <a:gridCol w="333375">
                  <a:extLst>
                    <a:ext uri="{9D8B030D-6E8A-4147-A177-3AD203B41FA5}">
                      <a16:colId xmlns="" xmlns:a16="http://schemas.microsoft.com/office/drawing/2014/main" val="20000"/>
                    </a:ext>
                  </a:extLst>
                </a:gridCol>
                <a:gridCol w="2083594">
                  <a:extLst>
                    <a:ext uri="{9D8B030D-6E8A-4147-A177-3AD203B41FA5}">
                      <a16:colId xmlns="" xmlns:a16="http://schemas.microsoft.com/office/drawing/2014/main" val="20001"/>
                    </a:ext>
                  </a:extLst>
                </a:gridCol>
                <a:gridCol w="404813">
                  <a:extLst>
                    <a:ext uri="{9D8B030D-6E8A-4147-A177-3AD203B41FA5}">
                      <a16:colId xmlns="" xmlns:a16="http://schemas.microsoft.com/office/drawing/2014/main" val="20002"/>
                    </a:ext>
                  </a:extLst>
                </a:gridCol>
                <a:gridCol w="404813">
                  <a:extLst>
                    <a:ext uri="{9D8B030D-6E8A-4147-A177-3AD203B41FA5}">
                      <a16:colId xmlns="" xmlns:a16="http://schemas.microsoft.com/office/drawing/2014/main" val="20003"/>
                    </a:ext>
                  </a:extLst>
                </a:gridCol>
                <a:gridCol w="406004">
                  <a:extLst>
                    <a:ext uri="{9D8B030D-6E8A-4147-A177-3AD203B41FA5}">
                      <a16:colId xmlns="" xmlns:a16="http://schemas.microsoft.com/office/drawing/2014/main" val="20004"/>
                    </a:ext>
                  </a:extLst>
                </a:gridCol>
                <a:gridCol w="404813">
                  <a:extLst>
                    <a:ext uri="{9D8B030D-6E8A-4147-A177-3AD203B41FA5}">
                      <a16:colId xmlns="" xmlns:a16="http://schemas.microsoft.com/office/drawing/2014/main" val="20005"/>
                    </a:ext>
                  </a:extLst>
                </a:gridCol>
                <a:gridCol w="404813">
                  <a:extLst>
                    <a:ext uri="{9D8B030D-6E8A-4147-A177-3AD203B41FA5}">
                      <a16:colId xmlns="" xmlns:a16="http://schemas.microsoft.com/office/drawing/2014/main" val="20006"/>
                    </a:ext>
                  </a:extLst>
                </a:gridCol>
                <a:gridCol w="404813">
                  <a:extLst>
                    <a:ext uri="{9D8B030D-6E8A-4147-A177-3AD203B41FA5}">
                      <a16:colId xmlns="" xmlns:a16="http://schemas.microsoft.com/office/drawing/2014/main" val="20007"/>
                    </a:ext>
                  </a:extLst>
                </a:gridCol>
                <a:gridCol w="404813">
                  <a:extLst>
                    <a:ext uri="{9D8B030D-6E8A-4147-A177-3AD203B41FA5}">
                      <a16:colId xmlns="" xmlns:a16="http://schemas.microsoft.com/office/drawing/2014/main" val="20008"/>
                    </a:ext>
                  </a:extLst>
                </a:gridCol>
                <a:gridCol w="404813">
                  <a:extLst>
                    <a:ext uri="{9D8B030D-6E8A-4147-A177-3AD203B41FA5}">
                      <a16:colId xmlns="" xmlns:a16="http://schemas.microsoft.com/office/drawing/2014/main" val="20009"/>
                    </a:ext>
                  </a:extLst>
                </a:gridCol>
                <a:gridCol w="406003">
                  <a:extLst>
                    <a:ext uri="{9D8B030D-6E8A-4147-A177-3AD203B41FA5}">
                      <a16:colId xmlns="" xmlns:a16="http://schemas.microsoft.com/office/drawing/2014/main" val="20010"/>
                    </a:ext>
                  </a:extLst>
                </a:gridCol>
                <a:gridCol w="404813">
                  <a:extLst>
                    <a:ext uri="{9D8B030D-6E8A-4147-A177-3AD203B41FA5}">
                      <a16:colId xmlns="" xmlns:a16="http://schemas.microsoft.com/office/drawing/2014/main" val="20011"/>
                    </a:ext>
                  </a:extLst>
                </a:gridCol>
                <a:gridCol w="404813">
                  <a:extLst>
                    <a:ext uri="{9D8B030D-6E8A-4147-A177-3AD203B41FA5}">
                      <a16:colId xmlns="" xmlns:a16="http://schemas.microsoft.com/office/drawing/2014/main" val="20012"/>
                    </a:ext>
                  </a:extLst>
                </a:gridCol>
                <a:gridCol w="404813">
                  <a:extLst>
                    <a:ext uri="{9D8B030D-6E8A-4147-A177-3AD203B41FA5}">
                      <a16:colId xmlns="" xmlns:a16="http://schemas.microsoft.com/office/drawing/2014/main" val="20013"/>
                    </a:ext>
                  </a:extLst>
                </a:gridCol>
              </a:tblGrid>
              <a:tr h="480146">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No.</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Phase</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July</a:t>
                      </a:r>
                    </a:p>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2018</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Jan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Feb</a:t>
                      </a:r>
                    </a:p>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Mar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Apr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May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Jun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Jul 2019</a:t>
                      </a:r>
                    </a:p>
                    <a:p>
                      <a:pPr marL="0" marR="0" lvl="0" indent="0" algn="ctr"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Aug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Sep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Oct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Nov 2019</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AEDEF"/>
                    </a:solidFill>
                  </a:tcPr>
                </a:tc>
                <a:extLst>
                  <a:ext uri="{0D108BD9-81ED-4DB2-BD59-A6C34878D82A}">
                    <a16:rowId xmlns="" xmlns:a16="http://schemas.microsoft.com/office/drawing/2014/main" val="10000"/>
                  </a:ext>
                </a:extLst>
              </a:tr>
              <a:tr h="504367">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1</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Revise and get approval about my action plan</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439106">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2</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Creating Request for proposal (RFP)</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rgbClr val="FF0000"/>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37414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3</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kern="1200" cap="none" normalizeH="0" baseline="0" dirty="0" smtClean="0">
                          <a:ln>
                            <a:noFill/>
                          </a:ln>
                          <a:solidFill>
                            <a:schemeClr val="tx1"/>
                          </a:solidFill>
                          <a:effectLst/>
                          <a:latin typeface="Arial" panose="020B0604020202020204" pitchFamily="34" charset="0"/>
                          <a:ea typeface="ＭＳ Ｐゴシック" panose="020B0600070205080204" pitchFamily="50" charset="-128"/>
                          <a:cs typeface="+mn-cs"/>
                        </a:rPr>
                        <a:t>Tendering for the system </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rgbClr val="FF0000"/>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384539">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4</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1"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sz="900" b="0" i="0" u="none" strike="noStrike" kern="1200" cap="none" normalizeH="0" baseline="0" dirty="0" smtClean="0">
                          <a:ln>
                            <a:noFill/>
                          </a:ln>
                          <a:solidFill>
                            <a:schemeClr val="tx1"/>
                          </a:solidFill>
                          <a:effectLst/>
                          <a:latin typeface="Arial" panose="020B0604020202020204" pitchFamily="34" charset="0"/>
                          <a:ea typeface="ＭＳ Ｐゴシック" panose="020B0600070205080204" pitchFamily="50" charset="-128"/>
                          <a:cs typeface="+mn-cs"/>
                        </a:rPr>
                        <a:t>Follow up the implementation of the system</a:t>
                      </a:r>
                      <a:endParaRPr kumimoji="1" lang="en-US" altLang="ja-JP" sz="900" b="0" i="0" u="none" strike="noStrike" kern="1200" cap="none" normalizeH="0" baseline="0" dirty="0" smtClean="0">
                        <a:ln>
                          <a:noFill/>
                        </a:ln>
                        <a:solidFill>
                          <a:schemeClr val="tx1"/>
                        </a:solidFill>
                        <a:effectLst/>
                        <a:latin typeface="Arial" panose="020B0604020202020204" pitchFamily="34" charset="0"/>
                        <a:ea typeface="ＭＳ Ｐゴシック" panose="020B0600070205080204" pitchFamily="50" charset="-128"/>
                        <a:cs typeface="+mn-cs"/>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363753">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5</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ja-JP" sz="900" b="0" baseline="0" dirty="0" smtClean="0">
                          <a:solidFill>
                            <a:schemeClr val="tx1"/>
                          </a:solidFill>
                        </a:rPr>
                        <a:t>User Acceptance Test</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r h="461617">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6</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171450" marR="0" lvl="0" indent="-171450" algn="l" defTabSz="914400" rtl="0" eaLnBrk="1" fontAlgn="base" latinLnBrk="0" hangingPunct="1">
                        <a:lnSpc>
                          <a:spcPct val="100000"/>
                        </a:lnSpc>
                        <a:spcBef>
                          <a:spcPct val="0"/>
                        </a:spcBef>
                        <a:spcAft>
                          <a:spcPct val="0"/>
                        </a:spcAft>
                        <a:buClrTx/>
                        <a:buSzTx/>
                        <a:buFontTx/>
                        <a:buChar char="-"/>
                        <a:tabLst/>
                        <a:defRPr/>
                      </a:pPr>
                      <a:endParaRPr lang="en-US" altLang="ja-JP" sz="900" b="1" dirty="0" smtClean="0"/>
                    </a:p>
                    <a:p>
                      <a:pPr marL="0" marR="0" lvl="0" indent="0" algn="l" defTabSz="914400" rtl="0" eaLnBrk="1" fontAlgn="base" latinLnBrk="0" hangingPunct="1">
                        <a:lnSpc>
                          <a:spcPct val="100000"/>
                        </a:lnSpc>
                        <a:spcBef>
                          <a:spcPct val="0"/>
                        </a:spcBef>
                        <a:spcAft>
                          <a:spcPct val="0"/>
                        </a:spcAft>
                        <a:buClrTx/>
                        <a:buSzTx/>
                        <a:buFontTx/>
                        <a:buNone/>
                        <a:tabLst/>
                        <a:defRPr/>
                      </a:pPr>
                      <a:r>
                        <a:rPr lang="en-US" altLang="ja-JP" sz="900" dirty="0" smtClean="0"/>
                        <a:t>Change management plan &amp; user training</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kumimoji="1" sz="3000">
                          <a:solidFill>
                            <a:schemeClr val="tx1"/>
                          </a:solidFill>
                          <a:latin typeface="Arial" panose="020B0604020202020204" pitchFamily="34" charset="0"/>
                          <a:ea typeface="ＭＳ Ｐゴシック" panose="020B0600070205080204" pitchFamily="50" charset="-128"/>
                        </a:defRPr>
                      </a:lvl1pPr>
                      <a:lvl2pPr marL="742950" indent="-285750" eaLnBrk="0" hangingPunct="0">
                        <a:spcBef>
                          <a:spcPct val="20000"/>
                        </a:spcBef>
                        <a:defRPr kumimoji="1" sz="2500">
                          <a:solidFill>
                            <a:schemeClr val="tx1"/>
                          </a:solidFill>
                          <a:latin typeface="Arial" panose="020B0604020202020204" pitchFamily="34" charset="0"/>
                          <a:ea typeface="ＭＳ Ｐゴシック" panose="020B0600070205080204" pitchFamily="50" charset="-128"/>
                        </a:defRPr>
                      </a:lvl2pPr>
                      <a:lvl3pPr marL="1143000" indent="-228600" eaLnBrk="0" hangingPunct="0">
                        <a:spcBef>
                          <a:spcPct val="20000"/>
                        </a:spcBef>
                        <a:defRPr kumimoji="1" sz="2100">
                          <a:solidFill>
                            <a:schemeClr val="tx1"/>
                          </a:solidFill>
                          <a:latin typeface="Arial" panose="020B0604020202020204" pitchFamily="34" charset="0"/>
                          <a:ea typeface="ＭＳ Ｐゴシック" panose="020B0600070205080204" pitchFamily="50" charset="-128"/>
                        </a:defRPr>
                      </a:lvl3pPr>
                      <a:lvl4pPr marL="16002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4pPr>
                      <a:lvl5pPr marL="2057400" indent="-228600" eaLnBrk="0" hangingPunct="0">
                        <a:spcBef>
                          <a:spcPct val="20000"/>
                        </a:spcBef>
                        <a:defRPr kumimoji="1" sz="19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sz="19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6"/>
                  </a:ext>
                </a:extLst>
              </a:tr>
              <a:tr h="29481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7</a:t>
                      </a:r>
                    </a:p>
                  </a:txBody>
                  <a:tcPr marL="68580" marR="68580" marT="34292" marB="3429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rPr>
                        <a:t>Evaluation of the action plan implementation</a:t>
                      </a: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9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50" charset="-128"/>
                      </a:endParaRPr>
                    </a:p>
                  </a:txBody>
                  <a:tcPr marL="68580" marR="68580" marT="34292" marB="3429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8"/>
                  </a:ext>
                </a:extLst>
              </a:tr>
            </a:tbl>
          </a:graphicData>
        </a:graphic>
      </p:graphicFrame>
      <p:sp>
        <p:nvSpPr>
          <p:cNvPr id="28827" name="Rectangle 35"/>
          <p:cNvSpPr>
            <a:spLocks noChangeArrowheads="1"/>
          </p:cNvSpPr>
          <p:nvPr/>
        </p:nvSpPr>
        <p:spPr bwMode="auto">
          <a:xfrm>
            <a:off x="3341940" y="1795780"/>
            <a:ext cx="400050" cy="457200"/>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grpSp>
        <p:nvGrpSpPr>
          <p:cNvPr id="28828" name="グループ化 2"/>
          <p:cNvGrpSpPr>
            <a:grpSpLocks/>
          </p:cNvGrpSpPr>
          <p:nvPr/>
        </p:nvGrpSpPr>
        <p:grpSpPr bwMode="auto">
          <a:xfrm>
            <a:off x="2209654" y="995114"/>
            <a:ext cx="2944415" cy="3834967"/>
            <a:chOff x="6658841" y="1333065"/>
            <a:chExt cx="3922888" cy="4873053"/>
          </a:xfrm>
        </p:grpSpPr>
        <p:cxnSp>
          <p:nvCxnSpPr>
            <p:cNvPr id="28836" name="直線コネクタ 5"/>
            <p:cNvCxnSpPr>
              <a:cxnSpLocks noChangeShapeType="1"/>
            </p:cNvCxnSpPr>
            <p:nvPr/>
          </p:nvCxnSpPr>
          <p:spPr bwMode="auto">
            <a:xfrm flipH="1">
              <a:off x="8700395" y="1658942"/>
              <a:ext cx="17453" cy="4547176"/>
            </a:xfrm>
            <a:prstGeom prst="line">
              <a:avLst/>
            </a:prstGeom>
            <a:noFill/>
            <a:ln w="50800" algn="ctr">
              <a:solidFill>
                <a:srgbClr val="FF0000"/>
              </a:solidFill>
              <a:prstDash val="sysDash"/>
              <a:round/>
              <a:headEnd/>
              <a:tailEnd/>
            </a:ln>
            <a:extLst>
              <a:ext uri="{909E8E84-426E-40DD-AFC4-6F175D3DCCD1}">
                <a14:hiddenFill xmlns:a14="http://schemas.microsoft.com/office/drawing/2010/main">
                  <a:noFill/>
                </a14:hiddenFill>
              </a:ext>
            </a:extLst>
          </p:spPr>
        </p:cxnSp>
        <p:sp>
          <p:nvSpPr>
            <p:cNvPr id="28837" name="テキスト ボックス 6"/>
            <p:cNvSpPr txBox="1">
              <a:spLocks noChangeArrowheads="1"/>
            </p:cNvSpPr>
            <p:nvPr/>
          </p:nvSpPr>
          <p:spPr bwMode="auto">
            <a:xfrm>
              <a:off x="6658841" y="1333065"/>
              <a:ext cx="3922888" cy="27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pPr algn="ctr" eaLnBrk="0" fontAlgn="base" hangingPunct="0">
                <a:spcBef>
                  <a:spcPct val="0"/>
                </a:spcBef>
                <a:spcAft>
                  <a:spcPct val="0"/>
                </a:spcAft>
              </a:pPr>
              <a:r>
                <a:rPr lang="en-US" altLang="ja-JP" sz="900" b="1" dirty="0">
                  <a:solidFill>
                    <a:srgbClr val="FF6600"/>
                  </a:solidFill>
                </a:rPr>
                <a:t>Beginning of the fiscal year</a:t>
              </a:r>
              <a:endParaRPr lang="ja-JP" altLang="en-US" sz="900" b="1" dirty="0">
                <a:solidFill>
                  <a:srgbClr val="FF6600"/>
                </a:solidFill>
              </a:endParaRPr>
            </a:p>
          </p:txBody>
        </p:sp>
      </p:grpSp>
      <p:sp>
        <p:nvSpPr>
          <p:cNvPr id="28829" name="Rectangle 35"/>
          <p:cNvSpPr>
            <a:spLocks noChangeArrowheads="1"/>
          </p:cNvSpPr>
          <p:nvPr/>
        </p:nvSpPr>
        <p:spPr bwMode="auto">
          <a:xfrm>
            <a:off x="3763637" y="2252980"/>
            <a:ext cx="398049" cy="457200"/>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0" name="Rectangle 35"/>
          <p:cNvSpPr>
            <a:spLocks noChangeArrowheads="1"/>
          </p:cNvSpPr>
          <p:nvPr/>
        </p:nvSpPr>
        <p:spPr bwMode="auto">
          <a:xfrm>
            <a:off x="4796796" y="3097872"/>
            <a:ext cx="1777451" cy="464477"/>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1" name="Rectangle 35"/>
          <p:cNvSpPr>
            <a:spLocks noChangeArrowheads="1"/>
          </p:cNvSpPr>
          <p:nvPr/>
        </p:nvSpPr>
        <p:spPr bwMode="auto">
          <a:xfrm>
            <a:off x="6574247" y="3562349"/>
            <a:ext cx="423055" cy="390526"/>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2" name="Rectangle 35"/>
          <p:cNvSpPr>
            <a:spLocks noChangeArrowheads="1"/>
          </p:cNvSpPr>
          <p:nvPr/>
        </p:nvSpPr>
        <p:spPr bwMode="auto">
          <a:xfrm>
            <a:off x="7007463" y="3952875"/>
            <a:ext cx="802481" cy="447675"/>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4" name="Rectangle 35"/>
          <p:cNvSpPr>
            <a:spLocks noChangeArrowheads="1"/>
          </p:cNvSpPr>
          <p:nvPr/>
        </p:nvSpPr>
        <p:spPr bwMode="auto">
          <a:xfrm>
            <a:off x="7811414" y="4400550"/>
            <a:ext cx="415528" cy="367378"/>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8835" name="Rectangle 35"/>
          <p:cNvSpPr>
            <a:spLocks noChangeArrowheads="1"/>
          </p:cNvSpPr>
          <p:nvPr/>
        </p:nvSpPr>
        <p:spPr bwMode="auto">
          <a:xfrm>
            <a:off x="4161686" y="2727324"/>
            <a:ext cx="638914" cy="370549"/>
          </a:xfrm>
          <a:prstGeom prst="rect">
            <a:avLst/>
          </a:prstGeom>
          <a:solidFill>
            <a:srgbClr val="FFC000"/>
          </a:solidFill>
          <a:ln w="9525" algn="ctr">
            <a:solidFill>
              <a:schemeClr val="tx1"/>
            </a:solidFill>
            <a:round/>
            <a:headEnd/>
            <a:tailEnd/>
          </a:ln>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None/>
            </a:pPr>
            <a:endParaRPr lang="en-US" altLang="ja-JP" sz="1425">
              <a:solidFill>
                <a:srgbClr val="000000"/>
              </a:solidFill>
            </a:endParaRPr>
          </a:p>
        </p:txBody>
      </p:sp>
      <p:sp>
        <p:nvSpPr>
          <p:cNvPr id="2" name="Slide Number Placeholder 1"/>
          <p:cNvSpPr>
            <a:spLocks noGrp="1"/>
          </p:cNvSpPr>
          <p:nvPr>
            <p:ph type="sldNum" idx="12"/>
          </p:nvPr>
        </p:nvSpPr>
        <p:spPr/>
        <p:txBody>
          <a:bodyPr/>
          <a:lstStyle/>
          <a:p>
            <a:pPr>
              <a:defRPr/>
            </a:pPr>
            <a:fld id="{CF61FEA9-21D0-466D-A692-93066E95BE27}" type="slidenum">
              <a:rPr lang="en-US" altLang="ja-JP" smtClean="0"/>
              <a:pPr>
                <a:defRPr/>
              </a:pPr>
              <a:t>13</a:t>
            </a:fld>
            <a:endParaRPr lang="en-US" altLang="ja-JP"/>
          </a:p>
        </p:txBody>
      </p:sp>
      <p:sp>
        <p:nvSpPr>
          <p:cNvPr id="7" name="Rectangle 6"/>
          <p:cNvSpPr/>
          <p:nvPr/>
        </p:nvSpPr>
        <p:spPr>
          <a:xfrm>
            <a:off x="1033162" y="521451"/>
            <a:ext cx="5908990" cy="461665"/>
          </a:xfrm>
          <a:prstGeom prst="rect">
            <a:avLst/>
          </a:prstGeom>
        </p:spPr>
        <p:txBody>
          <a:bodyPr wrap="none">
            <a:spAutoFit/>
          </a:bodyPr>
          <a:lstStyle/>
          <a:p>
            <a:pPr algn="ctr" eaLnBrk="1" hangingPunct="1">
              <a:spcBef>
                <a:spcPct val="0"/>
              </a:spcBef>
              <a:buFontTx/>
              <a:buNone/>
            </a:pPr>
            <a:r>
              <a:rPr lang="en-US" altLang="ja-JP" sz="2400" b="1" dirty="0">
                <a:solidFill>
                  <a:schemeClr val="bg1"/>
                </a:solidFill>
                <a:latin typeface="Dosis"/>
              </a:rPr>
              <a:t>Implementation schedule(Outsourcing)</a:t>
            </a:r>
            <a:endParaRPr lang="ja-JP" altLang="en-US" sz="2400" b="1" dirty="0">
              <a:solidFill>
                <a:schemeClr val="bg1"/>
              </a:solidFill>
              <a:latin typeface="Dosis"/>
            </a:endParaRPr>
          </a:p>
        </p:txBody>
      </p:sp>
    </p:spTree>
    <p:extLst>
      <p:ext uri="{BB962C8B-B14F-4D97-AF65-F5344CB8AC3E}">
        <p14:creationId xmlns:p14="http://schemas.microsoft.com/office/powerpoint/2010/main" val="38860666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Box 6"/>
          <p:cNvSpPr txBox="1">
            <a:spLocks noChangeArrowheads="1"/>
          </p:cNvSpPr>
          <p:nvPr/>
        </p:nvSpPr>
        <p:spPr bwMode="auto">
          <a:xfrm>
            <a:off x="1525426" y="382157"/>
            <a:ext cx="4801322" cy="385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27000" tIns="8100" rIns="27000" bIns="8100">
            <a:spAutoFit/>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buNone/>
            </a:pPr>
            <a:r>
              <a:rPr lang="en-US" altLang="ja-JP" sz="2400" b="1" dirty="0">
                <a:solidFill>
                  <a:schemeClr val="bg1"/>
                </a:solidFill>
                <a:latin typeface="Dosis"/>
              </a:rPr>
              <a:t> Project Team Structure</a:t>
            </a:r>
            <a:endParaRPr lang="ja-JP" altLang="en-US" sz="2400" b="1" dirty="0">
              <a:solidFill>
                <a:schemeClr val="bg1"/>
              </a:solidFill>
              <a:latin typeface="Dosis"/>
            </a:endParaRPr>
          </a:p>
        </p:txBody>
      </p:sp>
      <p:graphicFrame>
        <p:nvGraphicFramePr>
          <p:cNvPr id="33" name="Diagram 36"/>
          <p:cNvGraphicFramePr/>
          <p:nvPr>
            <p:extLst>
              <p:ext uri="{D42A27DB-BD31-4B8C-83A1-F6EECF244321}">
                <p14:modId xmlns:p14="http://schemas.microsoft.com/office/powerpoint/2010/main" val="2703664959"/>
              </p:ext>
            </p:extLst>
          </p:nvPr>
        </p:nvGraphicFramePr>
        <p:xfrm>
          <a:off x="1065611" y="946185"/>
          <a:ext cx="7177088" cy="39693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4" name="TextBox 1"/>
          <p:cNvSpPr txBox="1"/>
          <p:nvPr/>
        </p:nvSpPr>
        <p:spPr>
          <a:xfrm>
            <a:off x="2097881" y="1166814"/>
            <a:ext cx="2915841" cy="334835"/>
          </a:xfrm>
          <a:prstGeom prst="rect">
            <a:avLst/>
          </a:prstGeom>
          <a:noFill/>
        </p:spPr>
        <p:txBody>
          <a:bodyPr>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Manager of Application and system Department</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supervisor ,Approver</a:t>
            </a:r>
          </a:p>
        </p:txBody>
      </p:sp>
      <p:sp>
        <p:nvSpPr>
          <p:cNvPr id="35" name="TextBox 4"/>
          <p:cNvSpPr txBox="1"/>
          <p:nvPr/>
        </p:nvSpPr>
        <p:spPr>
          <a:xfrm>
            <a:off x="2097881" y="2434830"/>
            <a:ext cx="2415779" cy="456087"/>
          </a:xfrm>
          <a:prstGeom prst="rect">
            <a:avLst/>
          </a:prstGeom>
          <a:noFill/>
        </p:spPr>
        <p:txBody>
          <a:bodyPr>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software developer </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project manager  </a:t>
            </a:r>
            <a:r>
              <a:rPr kumimoji="1" lang="en-US" sz="788" dirty="0" smtClean="0">
                <a:latin typeface="Arial" panose="020B0604020202020204" pitchFamily="34" charset="0"/>
                <a:ea typeface="ＭＳ Ｐゴシック" panose="020B0600070205080204" pitchFamily="34" charset="-128"/>
              </a:rPr>
              <a:t>or project Facilitator </a:t>
            </a:r>
          </a:p>
          <a:p>
            <a:pPr eaLnBrk="0" fontAlgn="base" hangingPunct="0">
              <a:spcBef>
                <a:spcPct val="0"/>
              </a:spcBef>
              <a:spcAft>
                <a:spcPct val="0"/>
              </a:spcAft>
              <a:defRPr/>
            </a:pPr>
            <a:r>
              <a:rPr kumimoji="1" lang="en-US" sz="788" dirty="0" smtClean="0">
                <a:latin typeface="Arial" panose="020B0604020202020204" pitchFamily="34" charset="0"/>
                <a:ea typeface="ＭＳ Ｐゴシック" panose="020B0600070205080204" pitchFamily="34" charset="-128"/>
              </a:rPr>
              <a:t>Or Project coordinator</a:t>
            </a:r>
            <a:endParaRPr kumimoji="1" lang="en-US" sz="788" dirty="0">
              <a:latin typeface="Arial" panose="020B0604020202020204" pitchFamily="34" charset="0"/>
              <a:ea typeface="ＭＳ Ｐゴシック" panose="020B0600070205080204" pitchFamily="34" charset="-128"/>
            </a:endParaRPr>
          </a:p>
        </p:txBody>
      </p:sp>
      <p:sp>
        <p:nvSpPr>
          <p:cNvPr id="37" name="TextBox 6"/>
          <p:cNvSpPr txBox="1"/>
          <p:nvPr/>
        </p:nvSpPr>
        <p:spPr>
          <a:xfrm>
            <a:off x="7062789" y="2877742"/>
            <a:ext cx="1013222" cy="577338"/>
          </a:xfrm>
          <a:prstGeom prst="rect">
            <a:avLst/>
          </a:prstGeom>
          <a:noFill/>
        </p:spPr>
        <p:txBody>
          <a:bodyPr>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Network specialist</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Network tasks</a:t>
            </a:r>
          </a:p>
        </p:txBody>
      </p:sp>
      <p:sp>
        <p:nvSpPr>
          <p:cNvPr id="12" name="TextBox 6"/>
          <p:cNvSpPr txBox="1"/>
          <p:nvPr/>
        </p:nvSpPr>
        <p:spPr>
          <a:xfrm>
            <a:off x="5993608" y="2849167"/>
            <a:ext cx="1013222" cy="577338"/>
          </a:xfrm>
          <a:prstGeom prst="rect">
            <a:avLst/>
          </a:prstGeom>
          <a:noFill/>
        </p:spPr>
        <p:txBody>
          <a:bodyPr>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security specialist </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conducting security tasks</a:t>
            </a:r>
          </a:p>
        </p:txBody>
      </p:sp>
      <p:sp>
        <p:nvSpPr>
          <p:cNvPr id="14" name="TextBox 6"/>
          <p:cNvSpPr txBox="1"/>
          <p:nvPr/>
        </p:nvSpPr>
        <p:spPr>
          <a:xfrm>
            <a:off x="457201" y="4306491"/>
            <a:ext cx="1729980" cy="456087"/>
          </a:xfrm>
          <a:prstGeom prst="rect">
            <a:avLst/>
          </a:prstGeom>
          <a:noFill/>
        </p:spPr>
        <p:txBody>
          <a:bodyPr wrap="square">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Business Analyst</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Extracting ,simplify ,verify and manage requirement </a:t>
            </a:r>
          </a:p>
        </p:txBody>
      </p:sp>
      <p:sp>
        <p:nvSpPr>
          <p:cNvPr id="15" name="TextBox 6"/>
          <p:cNvSpPr txBox="1"/>
          <p:nvPr/>
        </p:nvSpPr>
        <p:spPr>
          <a:xfrm>
            <a:off x="1981201" y="4306491"/>
            <a:ext cx="1574600" cy="577338"/>
          </a:xfrm>
          <a:prstGeom prst="rect">
            <a:avLst/>
          </a:prstGeom>
          <a:noFill/>
        </p:spPr>
        <p:txBody>
          <a:bodyPr wrap="square">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database Administrator</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creating database </a:t>
            </a:r>
            <a:r>
              <a:rPr kumimoji="1" lang="en-US" sz="788" dirty="0" smtClean="0">
                <a:latin typeface="Arial" panose="020B0604020202020204" pitchFamily="34" charset="0"/>
                <a:ea typeface="ＭＳ Ｐゴシック" panose="020B0600070205080204" pitchFamily="34" charset="-128"/>
              </a:rPr>
              <a:t>structure , managing</a:t>
            </a:r>
            <a:endParaRPr kumimoji="1" lang="en-US" sz="788" dirty="0">
              <a:latin typeface="Arial" panose="020B0604020202020204" pitchFamily="34" charset="0"/>
              <a:ea typeface="ＭＳ Ｐゴシック" panose="020B0600070205080204" pitchFamily="34" charset="-128"/>
            </a:endParaRPr>
          </a:p>
        </p:txBody>
      </p:sp>
      <p:sp>
        <p:nvSpPr>
          <p:cNvPr id="16" name="TextBox 6"/>
          <p:cNvSpPr txBox="1"/>
          <p:nvPr/>
        </p:nvSpPr>
        <p:spPr>
          <a:xfrm>
            <a:off x="3338514" y="4306492"/>
            <a:ext cx="1233486" cy="577338"/>
          </a:xfrm>
          <a:prstGeom prst="rect">
            <a:avLst/>
          </a:prstGeom>
          <a:noFill/>
        </p:spPr>
        <p:txBody>
          <a:bodyPr wrap="square">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software developer</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Developing of system</a:t>
            </a:r>
          </a:p>
        </p:txBody>
      </p:sp>
      <p:sp>
        <p:nvSpPr>
          <p:cNvPr id="17" name="TextBox 6"/>
          <p:cNvSpPr txBox="1"/>
          <p:nvPr/>
        </p:nvSpPr>
        <p:spPr>
          <a:xfrm>
            <a:off x="4609879" y="4275204"/>
            <a:ext cx="1013222" cy="577338"/>
          </a:xfrm>
          <a:prstGeom prst="rect">
            <a:avLst/>
          </a:prstGeom>
          <a:noFill/>
        </p:spPr>
        <p:txBody>
          <a:bodyPr>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software Developer</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Developing of system</a:t>
            </a:r>
          </a:p>
        </p:txBody>
      </p:sp>
      <p:sp>
        <p:nvSpPr>
          <p:cNvPr id="18" name="TextBox 6"/>
          <p:cNvSpPr txBox="1"/>
          <p:nvPr/>
        </p:nvSpPr>
        <p:spPr>
          <a:xfrm>
            <a:off x="5678688" y="4306797"/>
            <a:ext cx="1643061" cy="456087"/>
          </a:xfrm>
          <a:prstGeom prst="rect">
            <a:avLst/>
          </a:prstGeom>
          <a:noFill/>
        </p:spPr>
        <p:txBody>
          <a:bodyPr wrap="square">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software engineering</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check the quality of system /Testing</a:t>
            </a:r>
          </a:p>
        </p:txBody>
      </p:sp>
      <p:sp>
        <p:nvSpPr>
          <p:cNvPr id="19" name="TextBox 6"/>
          <p:cNvSpPr txBox="1"/>
          <p:nvPr/>
        </p:nvSpPr>
        <p:spPr>
          <a:xfrm>
            <a:off x="4886326" y="2858692"/>
            <a:ext cx="1013222" cy="577338"/>
          </a:xfrm>
          <a:prstGeom prst="rect">
            <a:avLst/>
          </a:prstGeom>
          <a:noFill/>
        </p:spPr>
        <p:txBody>
          <a:bodyPr>
            <a:spAutoFit/>
          </a:bodyPr>
          <a:lstStyle/>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Position: : designer</a:t>
            </a:r>
          </a:p>
          <a:p>
            <a:pPr eaLnBrk="0" fontAlgn="base" hangingPunct="0">
              <a:spcBef>
                <a:spcPct val="0"/>
              </a:spcBef>
              <a:spcAft>
                <a:spcPct val="0"/>
              </a:spcAft>
              <a:defRPr/>
            </a:pPr>
            <a:r>
              <a:rPr kumimoji="1" lang="en-US" sz="788" dirty="0">
                <a:latin typeface="Arial" panose="020B0604020202020204" pitchFamily="34" charset="0"/>
                <a:ea typeface="ＭＳ Ｐゴシック" panose="020B0600070205080204" pitchFamily="34" charset="-128"/>
              </a:rPr>
              <a:t>Role: Design the system interfaces</a:t>
            </a:r>
          </a:p>
        </p:txBody>
      </p:sp>
      <p:sp>
        <p:nvSpPr>
          <p:cNvPr id="2" name="Slide Number Placeholder 1"/>
          <p:cNvSpPr>
            <a:spLocks noGrp="1"/>
          </p:cNvSpPr>
          <p:nvPr>
            <p:ph type="sldNum" idx="12"/>
          </p:nvPr>
        </p:nvSpPr>
        <p:spPr/>
        <p:txBody>
          <a:bodyPr/>
          <a:lstStyle/>
          <a:p>
            <a:pPr>
              <a:defRPr/>
            </a:pPr>
            <a:fld id="{CF61FEA9-21D0-466D-A692-93066E95BE27}" type="slidenum">
              <a:rPr lang="en-US" altLang="ja-JP" smtClean="0"/>
              <a:pPr>
                <a:defRPr/>
              </a:pPr>
              <a:t>14</a:t>
            </a:fld>
            <a:endParaRPr lang="en-US" altLang="ja-JP"/>
          </a:p>
        </p:txBody>
      </p:sp>
    </p:spTree>
    <p:extLst>
      <p:ext uri="{BB962C8B-B14F-4D97-AF65-F5344CB8AC3E}">
        <p14:creationId xmlns:p14="http://schemas.microsoft.com/office/powerpoint/2010/main" val="8338051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9858" y="285750"/>
            <a:ext cx="6724500" cy="749100"/>
          </a:xfrm>
        </p:spPr>
        <p:txBody>
          <a:bodyPr/>
          <a:lstStyle/>
          <a:p>
            <a:r>
              <a:rPr lang="en-US" altLang="ja-JP" b="1" dirty="0" smtClean="0">
                <a:solidFill>
                  <a:schemeClr val="bg1"/>
                </a:solidFill>
              </a:rPr>
              <a:t/>
            </a:r>
            <a:br>
              <a:rPr lang="en-US" altLang="ja-JP" b="1" dirty="0" smtClean="0">
                <a:solidFill>
                  <a:schemeClr val="bg1"/>
                </a:solidFill>
              </a:rPr>
            </a:br>
            <a:r>
              <a:rPr lang="en-US" altLang="ja-JP" b="1" dirty="0" smtClean="0">
                <a:solidFill>
                  <a:schemeClr val="bg1"/>
                </a:solidFill>
              </a:rPr>
              <a:t>Cost </a:t>
            </a:r>
            <a:r>
              <a:rPr lang="en-US" altLang="ja-JP" b="1" dirty="0">
                <a:solidFill>
                  <a:schemeClr val="bg1"/>
                </a:solidFill>
              </a:rPr>
              <a:t>for the action plan(In house development)</a:t>
            </a:r>
            <a:r>
              <a:rPr lang="ja-JP" altLang="en-US" b="1" dirty="0">
                <a:solidFill>
                  <a:schemeClr val="bg1"/>
                </a:solidFill>
              </a:rPr>
              <a:t/>
            </a:r>
            <a:br>
              <a:rPr lang="ja-JP" altLang="en-US" b="1" dirty="0">
                <a:solidFill>
                  <a:schemeClr val="bg1"/>
                </a:solidFill>
              </a:rPr>
            </a:br>
            <a:endParaRPr lang="en-US" dirty="0"/>
          </a:p>
        </p:txBody>
      </p:sp>
      <p:sp>
        <p:nvSpPr>
          <p:cNvPr id="3" name="Slide Number Placeholder 2"/>
          <p:cNvSpPr>
            <a:spLocks noGrp="1"/>
          </p:cNvSpPr>
          <p:nvPr>
            <p:ph type="sldNum" idx="12"/>
          </p:nvPr>
        </p:nvSpPr>
        <p:spPr/>
        <p:txBody>
          <a:bodyPr/>
          <a:lstStyle/>
          <a:p>
            <a:pPr marL="0" lvl="0" indent="0">
              <a:spcBef>
                <a:spcPts val="0"/>
              </a:spcBef>
              <a:spcAft>
                <a:spcPts val="0"/>
              </a:spcAft>
              <a:buNone/>
            </a:pPr>
            <a:fld id="{00000000-1234-1234-1234-123412341234}" type="slidenum">
              <a:rPr lang="en" smtClean="0"/>
              <a:t>15</a:t>
            </a:fld>
            <a:endParaRPr lang="en"/>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b="52027"/>
          <a:stretch/>
        </p:blipFill>
        <p:spPr>
          <a:xfrm>
            <a:off x="3124200" y="2881477"/>
            <a:ext cx="3167147" cy="2007934"/>
          </a:xfrm>
          <a:prstGeom prst="rect">
            <a:avLst/>
          </a:prstGeom>
        </p:spPr>
      </p:pic>
      <p:grpSp>
        <p:nvGrpSpPr>
          <p:cNvPr id="14" name="Group 13"/>
          <p:cNvGrpSpPr/>
          <p:nvPr/>
        </p:nvGrpSpPr>
        <p:grpSpPr>
          <a:xfrm rot="695090">
            <a:off x="1362776" y="1484742"/>
            <a:ext cx="2016469" cy="2452451"/>
            <a:chOff x="558066" y="496585"/>
            <a:chExt cx="2952620" cy="3222189"/>
          </a:xfrm>
        </p:grpSpPr>
        <p:sp>
          <p:nvSpPr>
            <p:cNvPr id="15" name="Oval 14"/>
            <p:cNvSpPr/>
            <p:nvPr/>
          </p:nvSpPr>
          <p:spPr>
            <a:xfrm rot="20958298">
              <a:off x="742841" y="2408382"/>
              <a:ext cx="2333625" cy="664224"/>
            </a:xfrm>
            <a:prstGeom prst="ellipse">
              <a:avLst/>
            </a:prstGeom>
            <a:gradFill flip="none" rotWithShape="1">
              <a:gsLst>
                <a:gs pos="0">
                  <a:schemeClr val="tx1">
                    <a:lumMod val="50000"/>
                    <a:lumOff val="50000"/>
                  </a:schemeClr>
                </a:gs>
                <a:gs pos="100000">
                  <a:schemeClr val="bg1">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16" name="Group 15"/>
            <p:cNvGrpSpPr/>
            <p:nvPr/>
          </p:nvGrpSpPr>
          <p:grpSpPr>
            <a:xfrm>
              <a:off x="558066" y="496585"/>
              <a:ext cx="2952620" cy="3222189"/>
              <a:chOff x="937560" y="375602"/>
              <a:chExt cx="2952620" cy="3222189"/>
            </a:xfrm>
          </p:grpSpPr>
          <p:grpSp>
            <p:nvGrpSpPr>
              <p:cNvPr id="17" name="Group 16"/>
              <p:cNvGrpSpPr/>
              <p:nvPr/>
            </p:nvGrpSpPr>
            <p:grpSpPr>
              <a:xfrm rot="21215437">
                <a:off x="937560" y="375602"/>
                <a:ext cx="2388760" cy="2388760"/>
                <a:chOff x="937154" y="372850"/>
                <a:chExt cx="2388760" cy="2388760"/>
              </a:xfrm>
            </p:grpSpPr>
            <p:grpSp>
              <p:nvGrpSpPr>
                <p:cNvPr id="19" name="Group 18"/>
                <p:cNvGrpSpPr/>
                <p:nvPr/>
              </p:nvGrpSpPr>
              <p:grpSpPr>
                <a:xfrm>
                  <a:off x="937154" y="372850"/>
                  <a:ext cx="2388760" cy="2388760"/>
                  <a:chOff x="937154" y="372850"/>
                  <a:chExt cx="2388760" cy="2388760"/>
                </a:xfrm>
              </p:grpSpPr>
              <p:sp>
                <p:nvSpPr>
                  <p:cNvPr id="21" name="Oval 20"/>
                  <p:cNvSpPr/>
                  <p:nvPr/>
                </p:nvSpPr>
                <p:spPr>
                  <a:xfrm rot="21289473">
                    <a:off x="937154" y="372850"/>
                    <a:ext cx="2388760" cy="2388760"/>
                  </a:xfrm>
                  <a:prstGeom prst="ellipse">
                    <a:avLst/>
                  </a:prstGeom>
                  <a:gradFill flip="none" rotWithShape="1">
                    <a:gsLst>
                      <a:gs pos="0">
                        <a:srgbClr val="00B0F0"/>
                      </a:gs>
                      <a:gs pos="100000">
                        <a:srgbClr val="0054D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0070C0"/>
                      </a:solidFill>
                      <a:effectLst>
                        <a:innerShdw blurRad="63500" dist="50800" dir="16200000">
                          <a:prstClr val="black">
                            <a:alpha val="50000"/>
                          </a:prstClr>
                        </a:innerShdw>
                      </a:effectLst>
                    </a:endParaRPr>
                  </a:p>
                </p:txBody>
              </p:sp>
              <p:sp>
                <p:nvSpPr>
                  <p:cNvPr id="22" name="Oval 21"/>
                  <p:cNvSpPr/>
                  <p:nvPr/>
                </p:nvSpPr>
                <p:spPr>
                  <a:xfrm rot="21142933">
                    <a:off x="1072330" y="473143"/>
                    <a:ext cx="2062431" cy="1790691"/>
                  </a:xfrm>
                  <a:prstGeom prst="ellipse">
                    <a:avLst/>
                  </a:prstGeom>
                  <a:gradFill flip="none" rotWithShape="1">
                    <a:gsLst>
                      <a:gs pos="67000">
                        <a:schemeClr val="bg1">
                          <a:lumMod val="85000"/>
                          <a:alpha val="0"/>
                        </a:schemeClr>
                      </a:gs>
                      <a:gs pos="0">
                        <a:schemeClr val="bg1">
                          <a:alpha val="78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20" name="Rectangle 19"/>
                <p:cNvSpPr/>
                <p:nvPr/>
              </p:nvSpPr>
              <p:spPr>
                <a:xfrm rot="21289473">
                  <a:off x="996881" y="1209327"/>
                  <a:ext cx="2275076" cy="930067"/>
                </a:xfrm>
                <a:prstGeom prst="rect">
                  <a:avLst/>
                </a:prstGeom>
              </p:spPr>
              <p:txBody>
                <a:bodyPr wrap="square">
                  <a:spAutoFit/>
                </a:bodyPr>
                <a:lstStyle/>
                <a:p>
                  <a:pPr algn="ctr"/>
                  <a:r>
                    <a:rPr lang="en-US" sz="4000" b="1" dirty="0" smtClean="0">
                      <a:ln w="900" cmpd="sng">
                        <a:solidFill>
                          <a:schemeClr val="accent3">
                            <a:lumMod val="60000"/>
                            <a:lumOff val="40000"/>
                            <a:alpha val="55000"/>
                          </a:schemeClr>
                        </a:solidFill>
                        <a:prstDash val="solid"/>
                      </a:ln>
                      <a:solidFill>
                        <a:schemeClr val="accent1">
                          <a:satMod val="200000"/>
                          <a:tint val="3000"/>
                        </a:schemeClr>
                      </a:solidFill>
                      <a:effectLst>
                        <a:outerShdw blurRad="63500" sx="102000" sy="102000" algn="ctr" rotWithShape="0">
                          <a:prstClr val="black">
                            <a:alpha val="40000"/>
                          </a:prstClr>
                        </a:outerShdw>
                      </a:effectLst>
                      <a:latin typeface="Impact" pitchFamily="34" charset="0"/>
                    </a:rPr>
                    <a:t>1500$</a:t>
                  </a:r>
                  <a:endParaRPr lang="en-US" sz="4000" b="1" dirty="0">
                    <a:ln w="900" cmpd="sng">
                      <a:solidFill>
                        <a:schemeClr val="accent3">
                          <a:lumMod val="60000"/>
                          <a:lumOff val="40000"/>
                          <a:alpha val="55000"/>
                        </a:schemeClr>
                      </a:solidFill>
                      <a:prstDash val="solid"/>
                    </a:ln>
                    <a:solidFill>
                      <a:schemeClr val="accent1">
                        <a:satMod val="200000"/>
                        <a:tint val="3000"/>
                      </a:schemeClr>
                    </a:solidFill>
                    <a:effectLst>
                      <a:outerShdw blurRad="63500" sx="102000" sy="102000" algn="ctr" rotWithShape="0">
                        <a:prstClr val="black">
                          <a:alpha val="40000"/>
                        </a:prstClr>
                      </a:outerShdw>
                    </a:effectLst>
                    <a:latin typeface="Impact" pitchFamily="34" charset="0"/>
                  </a:endParaRPr>
                </a:p>
              </p:txBody>
            </p:sp>
          </p:grpSp>
          <p:sp>
            <p:nvSpPr>
              <p:cNvPr id="18" name="Oval 17"/>
              <p:cNvSpPr/>
              <p:nvPr/>
            </p:nvSpPr>
            <p:spPr>
              <a:xfrm rot="21365147">
                <a:off x="1049585" y="2688800"/>
                <a:ext cx="2840595" cy="908991"/>
              </a:xfrm>
              <a:prstGeom prst="ellipse">
                <a:avLst/>
              </a:prstGeom>
              <a:solidFill>
                <a:srgbClr val="0054D0"/>
              </a:solidFill>
              <a:ln w="34925">
                <a:solidFill>
                  <a:srgbClr val="FFFFFF"/>
                </a:solidFill>
              </a:ln>
              <a:effectLst>
                <a:outerShdw blurRad="317500" dir="2700000" algn="ctr">
                  <a:srgbClr val="000000">
                    <a:alpha val="43000"/>
                  </a:srgbClr>
                </a:outerShdw>
              </a:effectLst>
              <a:scene3d>
                <a:camera prst="isometricOffAxis1Top"/>
                <a:lightRig rig="threePt" dir="t">
                  <a:rot lat="0" lon="0" rev="0"/>
                </a:lightRig>
              </a:scene3d>
              <a:sp3d extrusionH="38100" prstMaterial="clear">
                <a:bevelT w="260350" h="50800" prst="softRound"/>
                <a:bevelB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grpSp>
        <p:nvGrpSpPr>
          <p:cNvPr id="23" name="Group 22"/>
          <p:cNvGrpSpPr/>
          <p:nvPr/>
        </p:nvGrpSpPr>
        <p:grpSpPr>
          <a:xfrm rot="695090">
            <a:off x="6406125" y="1437585"/>
            <a:ext cx="2008221" cy="2452966"/>
            <a:chOff x="570143" y="495909"/>
            <a:chExt cx="2940543" cy="3222864"/>
          </a:xfrm>
        </p:grpSpPr>
        <p:sp>
          <p:nvSpPr>
            <p:cNvPr id="24" name="Oval 23"/>
            <p:cNvSpPr/>
            <p:nvPr/>
          </p:nvSpPr>
          <p:spPr>
            <a:xfrm rot="20958298">
              <a:off x="742841" y="2408382"/>
              <a:ext cx="2333625" cy="664224"/>
            </a:xfrm>
            <a:prstGeom prst="ellipse">
              <a:avLst/>
            </a:prstGeom>
            <a:gradFill flip="none" rotWithShape="1">
              <a:gsLst>
                <a:gs pos="0">
                  <a:schemeClr val="tx1">
                    <a:lumMod val="50000"/>
                    <a:lumOff val="50000"/>
                  </a:schemeClr>
                </a:gs>
                <a:gs pos="100000">
                  <a:schemeClr val="bg1">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25" name="Group 24"/>
            <p:cNvGrpSpPr/>
            <p:nvPr/>
          </p:nvGrpSpPr>
          <p:grpSpPr>
            <a:xfrm>
              <a:off x="570143" y="495909"/>
              <a:ext cx="2940543" cy="3222864"/>
              <a:chOff x="949637" y="374926"/>
              <a:chExt cx="2940543" cy="3222864"/>
            </a:xfrm>
          </p:grpSpPr>
          <p:grpSp>
            <p:nvGrpSpPr>
              <p:cNvPr id="26" name="Group 25"/>
              <p:cNvGrpSpPr/>
              <p:nvPr/>
            </p:nvGrpSpPr>
            <p:grpSpPr>
              <a:xfrm rot="21215437">
                <a:off x="949637" y="374926"/>
                <a:ext cx="2388760" cy="2605126"/>
                <a:chOff x="937154" y="372850"/>
                <a:chExt cx="2388760" cy="2605126"/>
              </a:xfrm>
            </p:grpSpPr>
            <p:grpSp>
              <p:nvGrpSpPr>
                <p:cNvPr id="28" name="Group 27"/>
                <p:cNvGrpSpPr/>
                <p:nvPr/>
              </p:nvGrpSpPr>
              <p:grpSpPr>
                <a:xfrm>
                  <a:off x="937154" y="372850"/>
                  <a:ext cx="2388760" cy="2388760"/>
                  <a:chOff x="937154" y="372850"/>
                  <a:chExt cx="2388760" cy="2388760"/>
                </a:xfrm>
              </p:grpSpPr>
              <p:sp>
                <p:nvSpPr>
                  <p:cNvPr id="30" name="Oval 29"/>
                  <p:cNvSpPr/>
                  <p:nvPr/>
                </p:nvSpPr>
                <p:spPr>
                  <a:xfrm rot="21289473">
                    <a:off x="937154" y="372850"/>
                    <a:ext cx="2388760" cy="2388760"/>
                  </a:xfrm>
                  <a:prstGeom prst="ellipse">
                    <a:avLst/>
                  </a:prstGeom>
                  <a:gradFill flip="none" rotWithShape="1">
                    <a:gsLst>
                      <a:gs pos="0">
                        <a:srgbClr val="00B0F0"/>
                      </a:gs>
                      <a:gs pos="100000">
                        <a:srgbClr val="0054D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0070C0"/>
                      </a:solidFill>
                      <a:effectLst>
                        <a:innerShdw blurRad="63500" dist="50800" dir="16200000">
                          <a:prstClr val="black">
                            <a:alpha val="50000"/>
                          </a:prstClr>
                        </a:innerShdw>
                      </a:effectLst>
                    </a:endParaRPr>
                  </a:p>
                </p:txBody>
              </p:sp>
              <p:sp>
                <p:nvSpPr>
                  <p:cNvPr id="31" name="Oval 30"/>
                  <p:cNvSpPr/>
                  <p:nvPr/>
                </p:nvSpPr>
                <p:spPr>
                  <a:xfrm rot="21142933">
                    <a:off x="1072330" y="473143"/>
                    <a:ext cx="2062431" cy="1790691"/>
                  </a:xfrm>
                  <a:prstGeom prst="ellipse">
                    <a:avLst/>
                  </a:prstGeom>
                  <a:gradFill flip="none" rotWithShape="1">
                    <a:gsLst>
                      <a:gs pos="67000">
                        <a:schemeClr val="bg1">
                          <a:lumMod val="85000"/>
                          <a:alpha val="0"/>
                        </a:schemeClr>
                      </a:gs>
                      <a:gs pos="0">
                        <a:schemeClr val="bg1">
                          <a:alpha val="78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29" name="Rectangle 28"/>
                <p:cNvSpPr/>
                <p:nvPr/>
              </p:nvSpPr>
              <p:spPr>
                <a:xfrm rot="21289473">
                  <a:off x="1190749" y="1239157"/>
                  <a:ext cx="1937039" cy="1738819"/>
                </a:xfrm>
                <a:prstGeom prst="rect">
                  <a:avLst/>
                </a:prstGeom>
              </p:spPr>
              <p:txBody>
                <a:bodyPr wrap="square">
                  <a:spAutoFit/>
                </a:bodyPr>
                <a:lstStyle/>
                <a:p>
                  <a:pPr algn="ctr"/>
                  <a:r>
                    <a:rPr lang="en-US" sz="4000" b="1" dirty="0" smtClean="0">
                      <a:ln w="900" cmpd="sng">
                        <a:solidFill>
                          <a:schemeClr val="accent3">
                            <a:lumMod val="60000"/>
                            <a:lumOff val="40000"/>
                            <a:alpha val="55000"/>
                          </a:schemeClr>
                        </a:solidFill>
                        <a:prstDash val="solid"/>
                      </a:ln>
                      <a:solidFill>
                        <a:schemeClr val="accent1">
                          <a:satMod val="200000"/>
                          <a:tint val="3000"/>
                        </a:schemeClr>
                      </a:solidFill>
                      <a:effectLst>
                        <a:outerShdw blurRad="63500" sx="102000" sy="102000" algn="ctr" rotWithShape="0">
                          <a:prstClr val="black">
                            <a:alpha val="40000"/>
                          </a:prstClr>
                        </a:outerShdw>
                      </a:effectLst>
                      <a:latin typeface="Impact" pitchFamily="34" charset="0"/>
                    </a:rPr>
                    <a:t>0</a:t>
                  </a:r>
                  <a:r>
                    <a:rPr lang="en-US" sz="4000" b="1" dirty="0">
                      <a:ln w="900" cmpd="sng">
                        <a:solidFill>
                          <a:schemeClr val="accent3">
                            <a:lumMod val="60000"/>
                            <a:lumOff val="40000"/>
                            <a:alpha val="55000"/>
                          </a:schemeClr>
                        </a:solidFill>
                        <a:prstDash val="solid"/>
                      </a:ln>
                      <a:solidFill>
                        <a:schemeClr val="accent1">
                          <a:satMod val="200000"/>
                          <a:tint val="3000"/>
                        </a:schemeClr>
                      </a:solidFill>
                      <a:effectLst>
                        <a:outerShdw blurRad="63500" sx="102000" sy="102000" algn="ctr" rotWithShape="0">
                          <a:prstClr val="black">
                            <a:alpha val="40000"/>
                          </a:prstClr>
                        </a:outerShdw>
                      </a:effectLst>
                      <a:latin typeface="Impact" pitchFamily="34" charset="0"/>
                    </a:rPr>
                    <a:t>$</a:t>
                  </a:r>
                </a:p>
                <a:p>
                  <a:pPr algn="ctr"/>
                  <a:endParaRPr lang="en-US" sz="4000" b="1" dirty="0">
                    <a:ln w="900" cmpd="sng">
                      <a:solidFill>
                        <a:schemeClr val="accent3">
                          <a:lumMod val="60000"/>
                          <a:lumOff val="40000"/>
                          <a:alpha val="55000"/>
                        </a:schemeClr>
                      </a:solidFill>
                      <a:prstDash val="solid"/>
                    </a:ln>
                    <a:solidFill>
                      <a:schemeClr val="accent1">
                        <a:satMod val="200000"/>
                        <a:tint val="3000"/>
                      </a:schemeClr>
                    </a:solidFill>
                    <a:effectLst>
                      <a:outerShdw blurRad="63500" sx="102000" sy="102000" algn="ctr" rotWithShape="0">
                        <a:prstClr val="black">
                          <a:alpha val="40000"/>
                        </a:prstClr>
                      </a:outerShdw>
                    </a:effectLst>
                    <a:latin typeface="Impact" pitchFamily="34" charset="0"/>
                  </a:endParaRPr>
                </a:p>
              </p:txBody>
            </p:sp>
          </p:grpSp>
          <p:sp>
            <p:nvSpPr>
              <p:cNvPr id="27" name="Oval 26"/>
              <p:cNvSpPr/>
              <p:nvPr/>
            </p:nvSpPr>
            <p:spPr>
              <a:xfrm rot="21365147">
                <a:off x="1049585" y="2688800"/>
                <a:ext cx="2840595" cy="908990"/>
              </a:xfrm>
              <a:prstGeom prst="ellipse">
                <a:avLst/>
              </a:prstGeom>
              <a:solidFill>
                <a:srgbClr val="0054D0"/>
              </a:solidFill>
              <a:ln w="34925">
                <a:solidFill>
                  <a:srgbClr val="FFC000"/>
                </a:solidFill>
              </a:ln>
              <a:effectLst>
                <a:outerShdw blurRad="317500" dir="2700000" algn="ctr">
                  <a:srgbClr val="000000">
                    <a:alpha val="43000"/>
                  </a:srgbClr>
                </a:outerShdw>
              </a:effectLst>
              <a:scene3d>
                <a:camera prst="isometricOffAxis1Top"/>
                <a:lightRig rig="threePt" dir="t">
                  <a:rot lat="0" lon="0" rev="0"/>
                </a:lightRig>
              </a:scene3d>
              <a:sp3d extrusionH="38100" prstMaterial="clear">
                <a:bevelT w="260350" h="50800" prst="softRound"/>
                <a:bevelB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sp>
        <p:nvSpPr>
          <p:cNvPr id="33" name="TextBox 32"/>
          <p:cNvSpPr txBox="1"/>
          <p:nvPr/>
        </p:nvSpPr>
        <p:spPr>
          <a:xfrm>
            <a:off x="6542241" y="4053318"/>
            <a:ext cx="1542961" cy="338554"/>
          </a:xfrm>
          <a:prstGeom prst="rect">
            <a:avLst/>
          </a:prstGeom>
          <a:noFill/>
        </p:spPr>
        <p:txBody>
          <a:bodyPr wrap="square" rtlCol="0">
            <a:spAutoFit/>
          </a:bodyPr>
          <a:lstStyle/>
          <a:p>
            <a:pPr algn="ctr"/>
            <a:r>
              <a:rPr lang="en-US" sz="1600" b="1" dirty="0" smtClean="0">
                <a:solidFill>
                  <a:srgbClr val="FF6600"/>
                </a:solidFill>
              </a:rPr>
              <a:t>Running cost</a:t>
            </a:r>
            <a:endParaRPr lang="en-US" sz="1600" b="1" dirty="0">
              <a:solidFill>
                <a:srgbClr val="FF6600"/>
              </a:solidFill>
            </a:endParaRPr>
          </a:p>
        </p:txBody>
      </p:sp>
      <p:sp>
        <p:nvSpPr>
          <p:cNvPr id="34" name="TextBox 33"/>
          <p:cNvSpPr txBox="1"/>
          <p:nvPr/>
        </p:nvSpPr>
        <p:spPr>
          <a:xfrm>
            <a:off x="914400" y="4053318"/>
            <a:ext cx="3200400" cy="923330"/>
          </a:xfrm>
          <a:prstGeom prst="rect">
            <a:avLst/>
          </a:prstGeom>
          <a:noFill/>
        </p:spPr>
        <p:txBody>
          <a:bodyPr wrap="square" rtlCol="0">
            <a:spAutoFit/>
          </a:bodyPr>
          <a:lstStyle/>
          <a:p>
            <a:pPr lvl="0" algn="ctr"/>
            <a:r>
              <a:rPr lang="en-US" sz="1800" b="1" dirty="0" smtClean="0">
                <a:solidFill>
                  <a:srgbClr val="FF6600"/>
                </a:solidFill>
              </a:rPr>
              <a:t>Initial cost </a:t>
            </a:r>
            <a:r>
              <a:rPr lang="en-US" sz="1800" dirty="0" smtClean="0">
                <a:solidFill>
                  <a:srgbClr val="FF6600"/>
                </a:solidFill>
              </a:rPr>
              <a:t>(</a:t>
            </a:r>
            <a:r>
              <a:rPr kumimoji="1" lang="en-US" altLang="ja-JP" sz="1800" dirty="0" smtClean="0">
                <a:solidFill>
                  <a:srgbClr val="FF6600"/>
                </a:solidFill>
                <a:latin typeface="Arial" charset="0"/>
                <a:ea typeface="ＭＳ Ｐゴシック" pitchFamily="50" charset="-128"/>
              </a:rPr>
              <a:t>Developer </a:t>
            </a:r>
            <a:r>
              <a:rPr kumimoji="1" lang="en-US" altLang="ja-JP" sz="1800" dirty="0">
                <a:solidFill>
                  <a:srgbClr val="FF6600"/>
                </a:solidFill>
                <a:latin typeface="Arial" charset="0"/>
                <a:ea typeface="ＭＳ Ｐゴシック" pitchFamily="50" charset="-128"/>
              </a:rPr>
              <a:t>training </a:t>
            </a:r>
            <a:r>
              <a:rPr kumimoji="1" lang="en-US" altLang="ja-JP" sz="1800" dirty="0" smtClean="0">
                <a:solidFill>
                  <a:srgbClr val="FF6600"/>
                </a:solidFill>
                <a:latin typeface="Arial" charset="0"/>
                <a:ea typeface="ＭＳ Ｐゴシック" pitchFamily="50" charset="-128"/>
              </a:rPr>
              <a:t>cost) </a:t>
            </a:r>
            <a:endParaRPr kumimoji="1" lang="ja-JP" altLang="ja-JP" sz="1800" dirty="0">
              <a:solidFill>
                <a:srgbClr val="FF6600"/>
              </a:solidFill>
              <a:latin typeface="Arial" charset="0"/>
              <a:ea typeface="ＭＳ Ｐゴシック" pitchFamily="50" charset="-128"/>
            </a:endParaRPr>
          </a:p>
          <a:p>
            <a:pPr algn="ctr"/>
            <a:endParaRPr lang="en-US" sz="1800" b="1" dirty="0">
              <a:solidFill>
                <a:srgbClr val="FF6600"/>
              </a:solidFill>
            </a:endParaRPr>
          </a:p>
        </p:txBody>
      </p:sp>
      <p:sp>
        <p:nvSpPr>
          <p:cNvPr id="35" name="TextBox 34"/>
          <p:cNvSpPr txBox="1"/>
          <p:nvPr/>
        </p:nvSpPr>
        <p:spPr>
          <a:xfrm>
            <a:off x="3505200" y="590550"/>
            <a:ext cx="4114800" cy="461665"/>
          </a:xfrm>
          <a:prstGeom prst="rect">
            <a:avLst/>
          </a:prstGeom>
          <a:noFill/>
        </p:spPr>
        <p:txBody>
          <a:bodyPr wrap="square" rtlCol="0">
            <a:spAutoFit/>
          </a:bodyPr>
          <a:lstStyle/>
          <a:p>
            <a:pPr eaLnBrk="1" hangingPunct="1">
              <a:spcBef>
                <a:spcPct val="0"/>
              </a:spcBef>
              <a:buFontTx/>
              <a:buNone/>
            </a:pPr>
            <a:r>
              <a:rPr lang="en-US" altLang="ja-JP" sz="2400" b="1" dirty="0">
                <a:solidFill>
                  <a:schemeClr val="bg1"/>
                </a:solidFill>
                <a:sym typeface="Wingdings" panose="05000000000000000000" pitchFamily="2" charset="2"/>
              </a:rPr>
              <a:t>(Jan. 2019 – Oct. 2019 )</a:t>
            </a:r>
            <a:endParaRPr lang="en-US" altLang="ja-JP" sz="2400" b="1" dirty="0">
              <a:solidFill>
                <a:schemeClr val="bg1"/>
              </a:solidFill>
            </a:endParaRPr>
          </a:p>
        </p:txBody>
      </p:sp>
    </p:spTree>
    <p:extLst>
      <p:ext uri="{BB962C8B-B14F-4D97-AF65-F5344CB8AC3E}">
        <p14:creationId xmlns:p14="http://schemas.microsoft.com/office/powerpoint/2010/main" val="2699960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8721" y="72282"/>
            <a:ext cx="6724500" cy="749100"/>
          </a:xfrm>
        </p:spPr>
        <p:txBody>
          <a:bodyPr/>
          <a:lstStyle/>
          <a:p>
            <a:r>
              <a:rPr lang="en-US" altLang="ja-JP" b="1" dirty="0" smtClean="0">
                <a:solidFill>
                  <a:schemeClr val="bg1"/>
                </a:solidFill>
              </a:rPr>
              <a:t/>
            </a:r>
            <a:br>
              <a:rPr lang="en-US" altLang="ja-JP" b="1" dirty="0" smtClean="0">
                <a:solidFill>
                  <a:schemeClr val="bg1"/>
                </a:solidFill>
              </a:rPr>
            </a:br>
            <a:r>
              <a:rPr lang="en-US" altLang="ja-JP" b="1" dirty="0" smtClean="0">
                <a:solidFill>
                  <a:schemeClr val="bg1"/>
                </a:solidFill>
              </a:rPr>
              <a:t>Cost </a:t>
            </a:r>
            <a:r>
              <a:rPr lang="en-US" altLang="ja-JP" b="1" dirty="0">
                <a:solidFill>
                  <a:schemeClr val="bg1"/>
                </a:solidFill>
              </a:rPr>
              <a:t>for the action </a:t>
            </a:r>
            <a:r>
              <a:rPr lang="en-US" altLang="ja-JP" b="1" dirty="0" smtClean="0">
                <a:solidFill>
                  <a:schemeClr val="bg1"/>
                </a:solidFill>
              </a:rPr>
              <a:t>plan(Outsourcing</a:t>
            </a:r>
            <a:r>
              <a:rPr lang="en-US" altLang="ja-JP" b="1" dirty="0">
                <a:solidFill>
                  <a:schemeClr val="bg1"/>
                </a:solidFill>
              </a:rPr>
              <a:t>)</a:t>
            </a:r>
            <a:r>
              <a:rPr lang="ja-JP" altLang="en-US" b="1" dirty="0">
                <a:solidFill>
                  <a:schemeClr val="bg1"/>
                </a:solidFill>
              </a:rPr>
              <a:t/>
            </a:r>
            <a:br>
              <a:rPr lang="ja-JP" altLang="en-US" b="1" dirty="0">
                <a:solidFill>
                  <a:schemeClr val="bg1"/>
                </a:solidFill>
              </a:rPr>
            </a:br>
            <a:endParaRPr lang="en-US" dirty="0"/>
          </a:p>
        </p:txBody>
      </p:sp>
      <p:sp>
        <p:nvSpPr>
          <p:cNvPr id="3" name="Slide Number Placeholder 2"/>
          <p:cNvSpPr>
            <a:spLocks noGrp="1"/>
          </p:cNvSpPr>
          <p:nvPr>
            <p:ph type="sldNum" idx="12"/>
          </p:nvPr>
        </p:nvSpPr>
        <p:spPr/>
        <p:txBody>
          <a:bodyPr/>
          <a:lstStyle/>
          <a:p>
            <a:pPr marL="0" lvl="0" indent="0">
              <a:spcBef>
                <a:spcPts val="0"/>
              </a:spcBef>
              <a:spcAft>
                <a:spcPts val="0"/>
              </a:spcAft>
              <a:buNone/>
            </a:pPr>
            <a:fld id="{00000000-1234-1234-1234-123412341234}" type="slidenum">
              <a:rPr lang="en" smtClean="0"/>
              <a:t>16</a:t>
            </a:fld>
            <a:endParaRPr lang="en"/>
          </a:p>
        </p:txBody>
      </p:sp>
      <p:sp>
        <p:nvSpPr>
          <p:cNvPr id="35" name="TextBox 34"/>
          <p:cNvSpPr txBox="1"/>
          <p:nvPr/>
        </p:nvSpPr>
        <p:spPr>
          <a:xfrm>
            <a:off x="2280002" y="590550"/>
            <a:ext cx="4114800" cy="461665"/>
          </a:xfrm>
          <a:prstGeom prst="rect">
            <a:avLst/>
          </a:prstGeom>
          <a:noFill/>
        </p:spPr>
        <p:txBody>
          <a:bodyPr wrap="square" rtlCol="0">
            <a:spAutoFit/>
          </a:bodyPr>
          <a:lstStyle/>
          <a:p>
            <a:pPr algn="ctr" eaLnBrk="1" hangingPunct="1">
              <a:spcBef>
                <a:spcPct val="0"/>
              </a:spcBef>
              <a:buFontTx/>
              <a:buNone/>
            </a:pPr>
            <a:r>
              <a:rPr lang="en-US" altLang="ja-JP" sz="2400" b="1" dirty="0">
                <a:solidFill>
                  <a:schemeClr val="bg1"/>
                </a:solidFill>
                <a:sym typeface="Wingdings" panose="05000000000000000000" pitchFamily="2" charset="2"/>
              </a:rPr>
              <a:t>(Jan. 2019 – </a:t>
            </a:r>
            <a:r>
              <a:rPr lang="en-US" altLang="ja-JP" sz="2400" b="1" dirty="0" smtClean="0">
                <a:solidFill>
                  <a:schemeClr val="bg1"/>
                </a:solidFill>
                <a:sym typeface="Wingdings" panose="05000000000000000000" pitchFamily="2" charset="2"/>
              </a:rPr>
              <a:t>Oct. </a:t>
            </a:r>
            <a:r>
              <a:rPr lang="en-US" altLang="ja-JP" sz="2400" b="1" dirty="0">
                <a:solidFill>
                  <a:schemeClr val="bg1"/>
                </a:solidFill>
                <a:sym typeface="Wingdings" panose="05000000000000000000" pitchFamily="2" charset="2"/>
              </a:rPr>
              <a:t>2019 )</a:t>
            </a:r>
            <a:endParaRPr lang="en-US" altLang="ja-JP" sz="2400" b="1" dirty="0">
              <a:solidFill>
                <a:schemeClr val="bg1"/>
              </a:solidFill>
            </a:endParaRPr>
          </a:p>
        </p:txBody>
      </p:sp>
      <p:sp>
        <p:nvSpPr>
          <p:cNvPr id="32" name="Text Box 368"/>
          <p:cNvSpPr txBox="1">
            <a:spLocks noChangeArrowheads="1"/>
          </p:cNvSpPr>
          <p:nvPr/>
        </p:nvSpPr>
        <p:spPr bwMode="auto">
          <a:xfrm>
            <a:off x="1016000" y="1176654"/>
            <a:ext cx="8128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36000" tIns="0" rIns="36000" bIns="0">
            <a:spAutoFit/>
          </a:bodyPr>
          <a:lstStyle>
            <a:lvl1pPr>
              <a:defRPr kumimoji="1" sz="3400">
                <a:solidFill>
                  <a:schemeClr val="tx1"/>
                </a:solidFill>
                <a:latin typeface="Arial" charset="0"/>
                <a:ea typeface="ＭＳ Ｐゴシック" pitchFamily="34" charset="-128"/>
              </a:defRPr>
            </a:lvl1pPr>
            <a:lvl2pPr marL="742950" indent="-285750">
              <a:defRPr kumimoji="1" sz="2900">
                <a:solidFill>
                  <a:schemeClr val="tx1"/>
                </a:solidFill>
                <a:latin typeface="Arial" charset="0"/>
                <a:ea typeface="ＭＳ Ｐゴシック" pitchFamily="34" charset="-128"/>
              </a:defRPr>
            </a:lvl2pPr>
            <a:lvl3pPr marL="1143000" indent="-228600">
              <a:defRPr kumimoji="1" sz="2500">
                <a:solidFill>
                  <a:schemeClr val="tx1"/>
                </a:solidFill>
                <a:latin typeface="Arial" charset="0"/>
                <a:ea typeface="ＭＳ Ｐゴシック" pitchFamily="34" charset="-128"/>
              </a:defRPr>
            </a:lvl3pPr>
            <a:lvl4pPr marL="1600200" indent="-228600">
              <a:defRPr kumimoji="1" sz="2100">
                <a:solidFill>
                  <a:schemeClr val="tx1"/>
                </a:solidFill>
                <a:latin typeface="Arial" charset="0"/>
                <a:ea typeface="ＭＳ Ｐゴシック" pitchFamily="34" charset="-128"/>
              </a:defRPr>
            </a:lvl4pPr>
            <a:lvl5pPr marL="2057400" indent="-228600">
              <a:defRPr kumimoji="1" sz="2100">
                <a:solidFill>
                  <a:schemeClr val="tx1"/>
                </a:solidFill>
                <a:latin typeface="Arial" charset="0"/>
                <a:ea typeface="ＭＳ Ｐゴシック" pitchFamily="34" charset="-128"/>
              </a:defRPr>
            </a:lvl5pPr>
            <a:lvl6pPr marL="2514600" indent="-228600" eaLnBrk="0" hangingPunct="0">
              <a:defRPr kumimoji="1" sz="2100">
                <a:solidFill>
                  <a:schemeClr val="tx1"/>
                </a:solidFill>
                <a:latin typeface="Arial" charset="0"/>
                <a:ea typeface="ＭＳ Ｐゴシック" pitchFamily="34" charset="-128"/>
              </a:defRPr>
            </a:lvl6pPr>
            <a:lvl7pPr marL="2971800" indent="-228600" eaLnBrk="0" hangingPunct="0">
              <a:defRPr kumimoji="1" sz="2100">
                <a:solidFill>
                  <a:schemeClr val="tx1"/>
                </a:solidFill>
                <a:latin typeface="Arial" charset="0"/>
                <a:ea typeface="ＭＳ Ｐゴシック" pitchFamily="34" charset="-128"/>
              </a:defRPr>
            </a:lvl7pPr>
            <a:lvl8pPr marL="3429000" indent="-228600" eaLnBrk="0" hangingPunct="0">
              <a:defRPr kumimoji="1" sz="2100">
                <a:solidFill>
                  <a:schemeClr val="tx1"/>
                </a:solidFill>
                <a:latin typeface="Arial" charset="0"/>
                <a:ea typeface="ＭＳ Ｐゴシック" pitchFamily="34" charset="-128"/>
              </a:defRPr>
            </a:lvl8pPr>
            <a:lvl9pPr marL="3886200" indent="-228600" eaLnBrk="0" hangingPunct="0">
              <a:defRPr kumimoji="1" sz="2100">
                <a:solidFill>
                  <a:schemeClr val="tx1"/>
                </a:solidFill>
                <a:latin typeface="Arial" charset="0"/>
                <a:ea typeface="ＭＳ Ｐゴシック" pitchFamily="34" charset="-128"/>
              </a:defRPr>
            </a:lvl9pPr>
          </a:lstStyle>
          <a:p>
            <a:pPr defTabSz="957263" eaLnBrk="1" hangingPunct="1"/>
            <a:r>
              <a:rPr lang="en-US" altLang="ja-JP" sz="2000" b="1" dirty="0" smtClean="0">
                <a:solidFill>
                  <a:srgbClr val="FF6600"/>
                </a:solidFill>
                <a:sym typeface="Wingdings" pitchFamily="2" charset="2"/>
              </a:rPr>
              <a:t> [Initial </a:t>
            </a:r>
            <a:r>
              <a:rPr lang="en-US" altLang="ja-JP" sz="2000" b="1" dirty="0">
                <a:solidFill>
                  <a:srgbClr val="FF6600"/>
                </a:solidFill>
                <a:sym typeface="Wingdings" pitchFamily="2" charset="2"/>
              </a:rPr>
              <a:t>cost] (Jan. 2019 – </a:t>
            </a:r>
            <a:r>
              <a:rPr lang="en-US" altLang="ja-JP" sz="2000" b="1" dirty="0" smtClean="0">
                <a:solidFill>
                  <a:srgbClr val="FF6600"/>
                </a:solidFill>
                <a:sym typeface="Wingdings" pitchFamily="2" charset="2"/>
              </a:rPr>
              <a:t>Sep. </a:t>
            </a:r>
            <a:r>
              <a:rPr lang="en-US" altLang="ja-JP" sz="2000" b="1" dirty="0">
                <a:solidFill>
                  <a:srgbClr val="FF6600"/>
                </a:solidFill>
                <a:sym typeface="Wingdings" pitchFamily="2" charset="2"/>
              </a:rPr>
              <a:t>2019 )</a:t>
            </a:r>
            <a:endParaRPr lang="en-US" altLang="ja-JP" sz="2000" b="1" dirty="0">
              <a:solidFill>
                <a:srgbClr val="FF6600"/>
              </a:solidFill>
            </a:endParaRPr>
          </a:p>
        </p:txBody>
      </p:sp>
      <p:sp>
        <p:nvSpPr>
          <p:cNvPr id="36" name="Text Box 368"/>
          <p:cNvSpPr txBox="1">
            <a:spLocks noChangeArrowheads="1"/>
          </p:cNvSpPr>
          <p:nvPr/>
        </p:nvSpPr>
        <p:spPr bwMode="auto">
          <a:xfrm>
            <a:off x="1016000" y="3114346"/>
            <a:ext cx="8128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36000" tIns="0" rIns="36000" bIns="0">
            <a:spAutoFit/>
          </a:bodyPr>
          <a:lstStyle>
            <a:lvl1pPr>
              <a:defRPr kumimoji="1" sz="3400">
                <a:solidFill>
                  <a:schemeClr val="tx1"/>
                </a:solidFill>
                <a:latin typeface="Arial" charset="0"/>
                <a:ea typeface="ＭＳ Ｐゴシック" pitchFamily="34" charset="-128"/>
              </a:defRPr>
            </a:lvl1pPr>
            <a:lvl2pPr marL="742950" indent="-285750">
              <a:defRPr kumimoji="1" sz="2900">
                <a:solidFill>
                  <a:schemeClr val="tx1"/>
                </a:solidFill>
                <a:latin typeface="Arial" charset="0"/>
                <a:ea typeface="ＭＳ Ｐゴシック" pitchFamily="34" charset="-128"/>
              </a:defRPr>
            </a:lvl2pPr>
            <a:lvl3pPr marL="1143000" indent="-228600">
              <a:defRPr kumimoji="1" sz="2500">
                <a:solidFill>
                  <a:schemeClr val="tx1"/>
                </a:solidFill>
                <a:latin typeface="Arial" charset="0"/>
                <a:ea typeface="ＭＳ Ｐゴシック" pitchFamily="34" charset="-128"/>
              </a:defRPr>
            </a:lvl3pPr>
            <a:lvl4pPr marL="1600200" indent="-228600">
              <a:defRPr kumimoji="1" sz="2100">
                <a:solidFill>
                  <a:schemeClr val="tx1"/>
                </a:solidFill>
                <a:latin typeface="Arial" charset="0"/>
                <a:ea typeface="ＭＳ Ｐゴシック" pitchFamily="34" charset="-128"/>
              </a:defRPr>
            </a:lvl4pPr>
            <a:lvl5pPr marL="2057400" indent="-228600">
              <a:defRPr kumimoji="1" sz="2100">
                <a:solidFill>
                  <a:schemeClr val="tx1"/>
                </a:solidFill>
                <a:latin typeface="Arial" charset="0"/>
                <a:ea typeface="ＭＳ Ｐゴシック" pitchFamily="34" charset="-128"/>
              </a:defRPr>
            </a:lvl5pPr>
            <a:lvl6pPr marL="2514600" indent="-228600" eaLnBrk="0" hangingPunct="0">
              <a:defRPr kumimoji="1" sz="2100">
                <a:solidFill>
                  <a:schemeClr val="tx1"/>
                </a:solidFill>
                <a:latin typeface="Arial" charset="0"/>
                <a:ea typeface="ＭＳ Ｐゴシック" pitchFamily="34" charset="-128"/>
              </a:defRPr>
            </a:lvl6pPr>
            <a:lvl7pPr marL="2971800" indent="-228600" eaLnBrk="0" hangingPunct="0">
              <a:defRPr kumimoji="1" sz="2100">
                <a:solidFill>
                  <a:schemeClr val="tx1"/>
                </a:solidFill>
                <a:latin typeface="Arial" charset="0"/>
                <a:ea typeface="ＭＳ Ｐゴシック" pitchFamily="34" charset="-128"/>
              </a:defRPr>
            </a:lvl7pPr>
            <a:lvl8pPr marL="3429000" indent="-228600" eaLnBrk="0" hangingPunct="0">
              <a:defRPr kumimoji="1" sz="2100">
                <a:solidFill>
                  <a:schemeClr val="tx1"/>
                </a:solidFill>
                <a:latin typeface="Arial" charset="0"/>
                <a:ea typeface="ＭＳ Ｐゴシック" pitchFamily="34" charset="-128"/>
              </a:defRPr>
            </a:lvl8pPr>
            <a:lvl9pPr marL="3886200" indent="-228600" eaLnBrk="0" hangingPunct="0">
              <a:defRPr kumimoji="1" sz="2100">
                <a:solidFill>
                  <a:schemeClr val="tx1"/>
                </a:solidFill>
                <a:latin typeface="Arial" charset="0"/>
                <a:ea typeface="ＭＳ Ｐゴシック" pitchFamily="34" charset="-128"/>
              </a:defRPr>
            </a:lvl9pPr>
          </a:lstStyle>
          <a:p>
            <a:pPr defTabSz="957263" eaLnBrk="1" hangingPunct="1"/>
            <a:r>
              <a:rPr lang="en-US" altLang="ja-JP" sz="2000" b="1" dirty="0">
                <a:solidFill>
                  <a:srgbClr val="FF6600"/>
                </a:solidFill>
                <a:sym typeface="Wingdings" pitchFamily="2" charset="2"/>
              </a:rPr>
              <a:t> </a:t>
            </a:r>
            <a:r>
              <a:rPr lang="en-US" altLang="ja-JP" sz="2000" b="1" dirty="0" smtClean="0">
                <a:solidFill>
                  <a:srgbClr val="FF6600"/>
                </a:solidFill>
                <a:sym typeface="Wingdings" pitchFamily="2" charset="2"/>
              </a:rPr>
              <a:t>[Running </a:t>
            </a:r>
            <a:r>
              <a:rPr lang="en-US" altLang="ja-JP" sz="2000" b="1" dirty="0">
                <a:solidFill>
                  <a:srgbClr val="FF6600"/>
                </a:solidFill>
                <a:sym typeface="Wingdings" pitchFamily="2" charset="2"/>
              </a:rPr>
              <a:t>cost]</a:t>
            </a:r>
            <a:endParaRPr lang="en-US" altLang="ja-JP" sz="2000" b="1" dirty="0">
              <a:solidFill>
                <a:srgbClr val="FF6600"/>
              </a:solidFill>
            </a:endParaRPr>
          </a:p>
        </p:txBody>
      </p:sp>
      <p:graphicFrame>
        <p:nvGraphicFramePr>
          <p:cNvPr id="37" name="Group 88"/>
          <p:cNvGraphicFramePr>
            <a:graphicFrameLocks noGrp="1"/>
          </p:cNvGraphicFramePr>
          <p:nvPr>
            <p:extLst>
              <p:ext uri="{D42A27DB-BD31-4B8C-83A1-F6EECF244321}">
                <p14:modId xmlns:p14="http://schemas.microsoft.com/office/powerpoint/2010/main" val="2863093447"/>
              </p:ext>
            </p:extLst>
          </p:nvPr>
        </p:nvGraphicFramePr>
        <p:xfrm>
          <a:off x="1143000" y="1581150"/>
          <a:ext cx="7315200" cy="1342913"/>
        </p:xfrm>
        <a:graphic>
          <a:graphicData uri="http://schemas.openxmlformats.org/drawingml/2006/table">
            <a:tbl>
              <a:tblPr>
                <a:tableStyleId>{616DA210-FB5B-4158-B5E0-FEB733F419BA}</a:tableStyleId>
              </a:tblPr>
              <a:tblGrid>
                <a:gridCol w="1713878">
                  <a:extLst>
                    <a:ext uri="{9D8B030D-6E8A-4147-A177-3AD203B41FA5}">
                      <a16:colId xmlns="" xmlns:a16="http://schemas.microsoft.com/office/drawing/2014/main" val="20000"/>
                    </a:ext>
                  </a:extLst>
                </a:gridCol>
                <a:gridCol w="2199463">
                  <a:extLst>
                    <a:ext uri="{9D8B030D-6E8A-4147-A177-3AD203B41FA5}">
                      <a16:colId xmlns="" xmlns:a16="http://schemas.microsoft.com/office/drawing/2014/main" val="20001"/>
                    </a:ext>
                  </a:extLst>
                </a:gridCol>
                <a:gridCol w="1435693">
                  <a:extLst>
                    <a:ext uri="{9D8B030D-6E8A-4147-A177-3AD203B41FA5}">
                      <a16:colId xmlns="" xmlns:a16="http://schemas.microsoft.com/office/drawing/2014/main" val="20002"/>
                    </a:ext>
                  </a:extLst>
                </a:gridCol>
                <a:gridCol w="1966166">
                  <a:extLst>
                    <a:ext uri="{9D8B030D-6E8A-4147-A177-3AD203B41FA5}">
                      <a16:colId xmlns="" xmlns:a16="http://schemas.microsoft.com/office/drawing/2014/main" val="20003"/>
                    </a:ext>
                  </a:extLst>
                </a:gridCol>
              </a:tblGrid>
              <a:tr h="35989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400" b="1" u="none" strike="noStrike" cap="none" normalizeH="0" baseline="0" dirty="0" smtClean="0">
                          <a:ln>
                            <a:noFill/>
                          </a:ln>
                          <a:effectLst/>
                        </a:rPr>
                        <a:t>Item</a:t>
                      </a:r>
                      <a:endParaRPr kumimoji="1" lang="en-US" altLang="ja-JP" sz="14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400" b="1" u="none" strike="noStrike" cap="none" normalizeH="0" baseline="0" dirty="0" smtClean="0">
                          <a:ln>
                            <a:noFill/>
                          </a:ln>
                          <a:effectLst/>
                        </a:rPr>
                        <a:t>Unit Cost</a:t>
                      </a:r>
                      <a:endParaRPr kumimoji="1" lang="en-US" altLang="ja-JP" sz="14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400" b="1" u="none" strike="noStrike" cap="none" normalizeH="0" baseline="0" dirty="0" smtClean="0">
                          <a:ln>
                            <a:noFill/>
                          </a:ln>
                          <a:effectLst/>
                        </a:rPr>
                        <a:t>Volume</a:t>
                      </a:r>
                      <a:endParaRPr kumimoji="1" lang="en-US" altLang="ja-JP" sz="14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400" b="1" u="none" strike="noStrike" cap="none" normalizeH="0" baseline="0" dirty="0" smtClean="0">
                          <a:ln>
                            <a:noFill/>
                          </a:ln>
                          <a:effectLst/>
                        </a:rPr>
                        <a:t>Cost</a:t>
                      </a:r>
                      <a:endParaRPr kumimoji="1" lang="en-US" altLang="ja-JP" sz="14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 xmlns:a16="http://schemas.microsoft.com/office/drawing/2014/main" val="10000"/>
                  </a:ext>
                </a:extLst>
              </a:tr>
              <a:tr h="32390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1" u="none" strike="noStrike" cap="none" normalizeH="0" baseline="0" dirty="0" smtClean="0">
                          <a:ln>
                            <a:noFill/>
                          </a:ln>
                          <a:effectLst/>
                        </a:rPr>
                        <a:t>Software </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1" u="none" strike="noStrike" cap="none" normalizeH="0" baseline="0" dirty="0" smtClean="0">
                          <a:ln>
                            <a:noFill/>
                          </a:ln>
                          <a:effectLst/>
                        </a:rPr>
                        <a:t>10,000 $</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1" u="none" strike="noStrike" cap="none" normalizeH="0" baseline="0" dirty="0" smtClean="0">
                          <a:ln>
                            <a:noFill/>
                          </a:ln>
                          <a:effectLst/>
                        </a:rPr>
                        <a:t>1</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1" lang="en-US" altLang="ja-JP" sz="1100" b="1" u="none" strike="noStrike" cap="none" normalizeH="0" baseline="0" dirty="0" smtClean="0">
                          <a:ln>
                            <a:noFill/>
                          </a:ln>
                          <a:effectLst/>
                        </a:rPr>
                        <a:t>10,000$</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1"/>
                  </a:ext>
                </a:extLst>
              </a:tr>
              <a:tr h="32390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1" u="none" strike="noStrike" cap="none" normalizeH="0" baseline="0" dirty="0" smtClean="0">
                          <a:ln>
                            <a:noFill/>
                          </a:ln>
                          <a:effectLst/>
                        </a:rPr>
                        <a:t>Training cost</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1" u="none" strike="noStrike" cap="none" normalizeH="0" baseline="0" dirty="0" smtClean="0">
                          <a:ln>
                            <a:noFill/>
                          </a:ln>
                          <a:effectLst/>
                        </a:rPr>
                        <a:t>100 per person</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1" u="none" strike="noStrike" cap="none" normalizeH="0" baseline="0" dirty="0" smtClean="0">
                          <a:ln>
                            <a:noFill/>
                          </a:ln>
                          <a:effectLst/>
                        </a:rPr>
                        <a:t>10 person </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1" lang="en-US" altLang="ja-JP" sz="1100" b="1" u="none" strike="noStrike" cap="none" normalizeH="0" baseline="0" dirty="0" smtClean="0">
                          <a:ln>
                            <a:noFill/>
                          </a:ln>
                          <a:effectLst/>
                        </a:rPr>
                        <a:t>1000$</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r h="335202">
                <a:tc gridSpan="3">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600" b="1" u="none" strike="noStrike" cap="none" normalizeH="0" baseline="0" dirty="0" smtClean="0">
                          <a:ln>
                            <a:noFill/>
                          </a:ln>
                          <a:effectLst/>
                        </a:rPr>
                        <a:t>Total Cost</a:t>
                      </a:r>
                      <a:endParaRPr kumimoji="1" lang="ja-JP" altLang="ja-JP" sz="16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1" lang="en-US" altLang="ja-JP" sz="1600" b="1" u="none" strike="noStrike" cap="none" normalizeH="0" baseline="0" dirty="0" smtClean="0">
                          <a:ln>
                            <a:noFill/>
                          </a:ln>
                          <a:effectLst/>
                        </a:rPr>
                        <a:t>11,000$</a:t>
                      </a:r>
                      <a:endParaRPr kumimoji="1" lang="ja-JP" altLang="ja-JP" sz="1600" b="1" i="0" u="none" strike="noStrike" cap="none" normalizeH="0" baseline="0" dirty="0" smtClean="0">
                        <a:ln>
                          <a:noFill/>
                        </a:ln>
                        <a:solidFill>
                          <a:schemeClr val="tx1"/>
                        </a:solidFill>
                        <a:effectLst/>
                        <a:latin typeface="Arial" charset="0"/>
                        <a:ea typeface="ＭＳ Ｐゴシック" pitchFamily="50" charset="-128"/>
                      </a:endParaRPr>
                    </a:p>
                  </a:txBody>
                  <a:tcPr marT="45681" marB="4568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5"/>
                  </a:ext>
                </a:extLst>
              </a:tr>
            </a:tbl>
          </a:graphicData>
        </a:graphic>
      </p:graphicFrame>
      <p:graphicFrame>
        <p:nvGraphicFramePr>
          <p:cNvPr id="38" name="Group 130"/>
          <p:cNvGraphicFramePr>
            <a:graphicFrameLocks noGrp="1"/>
          </p:cNvGraphicFramePr>
          <p:nvPr>
            <p:extLst>
              <p:ext uri="{D42A27DB-BD31-4B8C-83A1-F6EECF244321}">
                <p14:modId xmlns:p14="http://schemas.microsoft.com/office/powerpoint/2010/main" val="3075237367"/>
              </p:ext>
            </p:extLst>
          </p:nvPr>
        </p:nvGraphicFramePr>
        <p:xfrm>
          <a:off x="1143000" y="3562350"/>
          <a:ext cx="7340599" cy="1019033"/>
        </p:xfrm>
        <a:graphic>
          <a:graphicData uri="http://schemas.openxmlformats.org/drawingml/2006/table">
            <a:tbl>
              <a:tblPr/>
              <a:tblGrid>
                <a:gridCol w="1723986">
                  <a:extLst>
                    <a:ext uri="{9D8B030D-6E8A-4147-A177-3AD203B41FA5}">
                      <a16:colId xmlns="" xmlns:a16="http://schemas.microsoft.com/office/drawing/2014/main" val="20000"/>
                    </a:ext>
                  </a:extLst>
                </a:gridCol>
                <a:gridCol w="2202942">
                  <a:extLst>
                    <a:ext uri="{9D8B030D-6E8A-4147-A177-3AD203B41FA5}">
                      <a16:colId xmlns="" xmlns:a16="http://schemas.microsoft.com/office/drawing/2014/main" val="20001"/>
                    </a:ext>
                  </a:extLst>
                </a:gridCol>
                <a:gridCol w="1440678">
                  <a:extLst>
                    <a:ext uri="{9D8B030D-6E8A-4147-A177-3AD203B41FA5}">
                      <a16:colId xmlns="" xmlns:a16="http://schemas.microsoft.com/office/drawing/2014/main" val="20002"/>
                    </a:ext>
                  </a:extLst>
                </a:gridCol>
                <a:gridCol w="1972993">
                  <a:extLst>
                    <a:ext uri="{9D8B030D-6E8A-4147-A177-3AD203B41FA5}">
                      <a16:colId xmlns="" xmlns:a16="http://schemas.microsoft.com/office/drawing/2014/main" val="20003"/>
                    </a:ext>
                  </a:extLst>
                </a:gridCol>
              </a:tblGrid>
              <a:tr h="35988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400" b="1" i="0" u="none" strike="noStrike" cap="none" normalizeH="0" baseline="0" dirty="0" smtClean="0">
                          <a:ln>
                            <a:noFill/>
                          </a:ln>
                          <a:solidFill>
                            <a:schemeClr val="tx1"/>
                          </a:solidFill>
                          <a:effectLst/>
                          <a:latin typeface="Arial" charset="0"/>
                          <a:ea typeface="ＭＳ Ｐゴシック" pitchFamily="50" charset="-128"/>
                        </a:rPr>
                        <a:t>Item</a:t>
                      </a:r>
                    </a:p>
                  </a:txBody>
                  <a:tcPr marT="45705" marB="4570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400" b="1" i="0" u="none" strike="noStrike" cap="none" normalizeH="0" baseline="0" dirty="0" smtClean="0">
                          <a:ln>
                            <a:noFill/>
                          </a:ln>
                          <a:solidFill>
                            <a:schemeClr val="tx1"/>
                          </a:solidFill>
                          <a:effectLst/>
                          <a:latin typeface="Arial" charset="0"/>
                          <a:ea typeface="ＭＳ Ｐゴシック" pitchFamily="50" charset="-128"/>
                        </a:rPr>
                        <a:t>Unit Cost</a:t>
                      </a:r>
                    </a:p>
                  </a:txBody>
                  <a:tcPr marT="45705" marB="4570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400" b="1" i="0" u="none" strike="noStrike" cap="none" normalizeH="0" baseline="0" dirty="0" smtClean="0">
                          <a:ln>
                            <a:noFill/>
                          </a:ln>
                          <a:solidFill>
                            <a:schemeClr val="tx1"/>
                          </a:solidFill>
                          <a:effectLst/>
                          <a:latin typeface="Arial" charset="0"/>
                          <a:ea typeface="ＭＳ Ｐゴシック" pitchFamily="50" charset="-128"/>
                        </a:rPr>
                        <a:t>Volume</a:t>
                      </a:r>
                    </a:p>
                  </a:txBody>
                  <a:tcPr marT="45705" marB="4570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400" b="1" i="0" u="none" strike="noStrike" cap="none" normalizeH="0" baseline="0" dirty="0" smtClean="0">
                          <a:ln>
                            <a:noFill/>
                          </a:ln>
                          <a:solidFill>
                            <a:schemeClr val="tx1"/>
                          </a:solidFill>
                          <a:effectLst/>
                          <a:latin typeface="Arial" charset="0"/>
                          <a:ea typeface="ＭＳ Ｐゴシック" pitchFamily="50" charset="-128"/>
                        </a:rPr>
                        <a:t>Cost</a:t>
                      </a:r>
                    </a:p>
                  </a:txBody>
                  <a:tcPr marT="45705" marB="4570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extLst>
                  <a:ext uri="{0D108BD9-81ED-4DB2-BD59-A6C34878D82A}">
                    <a16:rowId xmlns="" xmlns:a16="http://schemas.microsoft.com/office/drawing/2014/main" val="10000"/>
                  </a:ext>
                </a:extLst>
              </a:tr>
              <a:tr h="32389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smtClean="0">
                          <a:ln>
                            <a:noFill/>
                          </a:ln>
                          <a:solidFill>
                            <a:schemeClr val="tx1"/>
                          </a:solidFill>
                          <a:effectLst/>
                          <a:latin typeface="Arial" charset="0"/>
                          <a:ea typeface="ＭＳ Ｐゴシック" pitchFamily="50" charset="-128"/>
                        </a:rPr>
                        <a:t>Software maintenance</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705" marB="4570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smtClean="0">
                          <a:ln>
                            <a:noFill/>
                          </a:ln>
                          <a:solidFill>
                            <a:schemeClr val="tx1"/>
                          </a:solidFill>
                          <a:effectLst/>
                          <a:latin typeface="Arial" charset="0"/>
                          <a:ea typeface="ＭＳ Ｐゴシック" pitchFamily="50" charset="-128"/>
                        </a:rPr>
                        <a:t>500$ per year</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705" marB="4570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smtClean="0">
                          <a:ln>
                            <a:noFill/>
                          </a:ln>
                          <a:solidFill>
                            <a:schemeClr val="tx1"/>
                          </a:solidFill>
                          <a:effectLst/>
                          <a:latin typeface="Arial" charset="0"/>
                          <a:ea typeface="ＭＳ Ｐゴシック" pitchFamily="50" charset="-128"/>
                        </a:rPr>
                        <a:t>1</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705" marB="4570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smtClean="0">
                          <a:ln>
                            <a:noFill/>
                          </a:ln>
                          <a:solidFill>
                            <a:schemeClr val="tx1"/>
                          </a:solidFill>
                          <a:effectLst/>
                          <a:latin typeface="Arial" charset="0"/>
                          <a:ea typeface="ＭＳ Ｐゴシック" pitchFamily="50" charset="-128"/>
                        </a:rPr>
                        <a:t>500$</a:t>
                      </a:r>
                      <a:endParaRPr kumimoji="1" lang="ja-JP" altLang="ja-JP" sz="1100" b="1" i="0" u="none" strike="noStrike" cap="none" normalizeH="0" baseline="0" dirty="0" smtClean="0">
                        <a:ln>
                          <a:noFill/>
                        </a:ln>
                        <a:solidFill>
                          <a:schemeClr val="tx1"/>
                        </a:solidFill>
                        <a:effectLst/>
                        <a:latin typeface="Arial" charset="0"/>
                        <a:ea typeface="ＭＳ Ｐゴシック" pitchFamily="50" charset="-128"/>
                      </a:endParaRPr>
                    </a:p>
                  </a:txBody>
                  <a:tcPr marT="45705" marB="4570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335250">
                <a:tc gridSpan="3">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600" b="1" i="0" u="none" strike="noStrike" cap="none" normalizeH="0" baseline="0" dirty="0" smtClean="0">
                          <a:ln>
                            <a:noFill/>
                          </a:ln>
                          <a:solidFill>
                            <a:schemeClr val="tx1"/>
                          </a:solidFill>
                          <a:effectLst/>
                          <a:latin typeface="Arial" charset="0"/>
                          <a:ea typeface="ＭＳ Ｐゴシック" pitchFamily="50" charset="-128"/>
                        </a:rPr>
                        <a:t>Total Cost</a:t>
                      </a:r>
                      <a:endParaRPr kumimoji="1" lang="ja-JP" altLang="ja-JP" sz="1600" b="1" i="0" u="none" strike="noStrike" cap="none" normalizeH="0" baseline="0" dirty="0" smtClean="0">
                        <a:ln>
                          <a:noFill/>
                        </a:ln>
                        <a:solidFill>
                          <a:schemeClr val="tx1"/>
                        </a:solidFill>
                        <a:effectLst/>
                        <a:latin typeface="Arial" charset="0"/>
                        <a:ea typeface="ＭＳ Ｐゴシック" pitchFamily="50" charset="-128"/>
                      </a:endParaRPr>
                    </a:p>
                  </a:txBody>
                  <a:tcPr marT="45705" marB="4570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1" lang="en-US" altLang="ja-JP" sz="1600" b="1" i="0" u="none" strike="noStrike" cap="none" normalizeH="0" baseline="0" dirty="0" smtClean="0">
                          <a:ln>
                            <a:noFill/>
                          </a:ln>
                          <a:solidFill>
                            <a:schemeClr val="tx1"/>
                          </a:solidFill>
                          <a:effectLst/>
                          <a:latin typeface="Arial" charset="0"/>
                          <a:ea typeface="ＭＳ Ｐゴシック" pitchFamily="50" charset="-128"/>
                        </a:rPr>
                        <a:t>500$</a:t>
                      </a:r>
                      <a:endParaRPr kumimoji="1" lang="ja-JP" altLang="ja-JP" sz="1600" b="1" i="0" u="none" strike="noStrike" cap="none" normalizeH="0" baseline="0" dirty="0" smtClean="0">
                        <a:ln>
                          <a:noFill/>
                        </a:ln>
                        <a:solidFill>
                          <a:schemeClr val="tx1"/>
                        </a:solidFill>
                        <a:effectLst/>
                        <a:latin typeface="Arial" charset="0"/>
                        <a:ea typeface="ＭＳ Ｐゴシック" pitchFamily="50" charset="-128"/>
                      </a:endParaRPr>
                    </a:p>
                  </a:txBody>
                  <a:tcPr marT="45705" marB="4570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30073941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eaLnBrk="1" hangingPunct="1">
              <a:spcBef>
                <a:spcPct val="0"/>
              </a:spcBef>
            </a:pPr>
            <a:r>
              <a:rPr lang="en-US" altLang="ja-JP" b="1" dirty="0">
                <a:solidFill>
                  <a:schemeClr val="bg1"/>
                </a:solidFill>
                <a:ea typeface="MS PGothic"/>
              </a:rPr>
              <a:t>Risk for the action plan</a:t>
            </a:r>
            <a:endParaRPr lang="ja-JP" altLang="en-US" b="1" dirty="0">
              <a:solidFill>
                <a:schemeClr val="bg1"/>
              </a:solidFill>
            </a:endParaRPr>
          </a:p>
        </p:txBody>
      </p:sp>
      <p:sp>
        <p:nvSpPr>
          <p:cNvPr id="3" name="Slide Number Placeholder 2"/>
          <p:cNvSpPr>
            <a:spLocks noGrp="1"/>
          </p:cNvSpPr>
          <p:nvPr>
            <p:ph type="sldNum" idx="12"/>
          </p:nvPr>
        </p:nvSpPr>
        <p:spPr/>
        <p:txBody>
          <a:bodyPr/>
          <a:lstStyle/>
          <a:p>
            <a:pPr marL="0" lvl="0" indent="0">
              <a:spcBef>
                <a:spcPts val="0"/>
              </a:spcBef>
              <a:spcAft>
                <a:spcPts val="0"/>
              </a:spcAft>
              <a:buNone/>
            </a:pPr>
            <a:fld id="{00000000-1234-1234-1234-123412341234}" type="slidenum">
              <a:rPr lang="en" smtClean="0"/>
              <a:t>17</a:t>
            </a:fld>
            <a:endParaRPr lang="en" dirty="0"/>
          </a:p>
        </p:txBody>
      </p:sp>
      <p:sp>
        <p:nvSpPr>
          <p:cNvPr id="5" name="Rectangle 4"/>
          <p:cNvSpPr/>
          <p:nvPr/>
        </p:nvSpPr>
        <p:spPr>
          <a:xfrm>
            <a:off x="1219200" y="1125200"/>
            <a:ext cx="5638800" cy="4431983"/>
          </a:xfrm>
          <a:prstGeom prst="rect">
            <a:avLst/>
          </a:prstGeom>
        </p:spPr>
        <p:txBody>
          <a:bodyPr wrap="square">
            <a:spAutoFit/>
          </a:bodyPr>
          <a:lstStyle/>
          <a:p>
            <a:pPr lvl="0" fontAlgn="base">
              <a:spcBef>
                <a:spcPct val="0"/>
              </a:spcBef>
              <a:spcAft>
                <a:spcPct val="0"/>
              </a:spcAft>
            </a:pPr>
            <a:r>
              <a:rPr lang="en-US" altLang="ja-JP" sz="1800" b="1" dirty="0">
                <a:solidFill>
                  <a:srgbClr val="FF6600"/>
                </a:solidFill>
                <a:latin typeface="Roboto"/>
                <a:ea typeface="MS PGothic"/>
                <a:sym typeface="Wingdings" panose="05000000000000000000" pitchFamily="2" charset="2"/>
              </a:rPr>
              <a:t>Risk for implementation of the plan</a:t>
            </a:r>
            <a:endParaRPr lang="en-US" altLang="ja-JP" sz="1800" b="1" dirty="0">
              <a:solidFill>
                <a:srgbClr val="FF6600"/>
              </a:solidFill>
              <a:latin typeface="Roboto"/>
              <a:ea typeface="MS PGothic"/>
            </a:endParaRPr>
          </a:p>
          <a:p>
            <a:pPr marL="285750" indent="-285750" fontAlgn="base">
              <a:lnSpc>
                <a:spcPct val="150000"/>
              </a:lnSpc>
              <a:spcBef>
                <a:spcPct val="0"/>
              </a:spcBef>
              <a:spcAft>
                <a:spcPct val="0"/>
              </a:spcAft>
              <a:buClr>
                <a:srgbClr val="FF6600"/>
              </a:buClr>
              <a:buFont typeface="Wingdings" panose="05000000000000000000" pitchFamily="2" charset="2"/>
              <a:buChar char="Ø"/>
            </a:pPr>
            <a:r>
              <a:rPr lang="en-US" altLang="ja-JP" sz="1800" dirty="0" smtClean="0">
                <a:latin typeface="Roboto"/>
              </a:rPr>
              <a:t>The </a:t>
            </a:r>
            <a:r>
              <a:rPr lang="en-US" altLang="ja-JP" sz="1800" dirty="0">
                <a:latin typeface="Roboto"/>
              </a:rPr>
              <a:t>project members may not have enough time to work in project</a:t>
            </a:r>
            <a:r>
              <a:rPr lang="en-US" altLang="ja-JP" sz="1800" dirty="0" smtClean="0">
                <a:latin typeface="Roboto"/>
              </a:rPr>
              <a:t>.</a:t>
            </a:r>
          </a:p>
          <a:p>
            <a:pPr marL="285750" indent="-285750" fontAlgn="base">
              <a:lnSpc>
                <a:spcPct val="150000"/>
              </a:lnSpc>
              <a:spcBef>
                <a:spcPct val="0"/>
              </a:spcBef>
              <a:spcAft>
                <a:spcPct val="0"/>
              </a:spcAft>
              <a:buClr>
                <a:srgbClr val="FF6600"/>
              </a:buClr>
              <a:buFont typeface="Wingdings" panose="05000000000000000000" pitchFamily="2" charset="2"/>
              <a:buChar char="Ø"/>
            </a:pPr>
            <a:r>
              <a:rPr lang="en-US" altLang="ja-JP" sz="1800" dirty="0" smtClean="0">
                <a:latin typeface="Roboto"/>
              </a:rPr>
              <a:t>Some </a:t>
            </a:r>
            <a:r>
              <a:rPr lang="en-US" altLang="ja-JP" sz="1800" dirty="0">
                <a:latin typeface="Roboto"/>
              </a:rPr>
              <a:t>of staff don’t like to share their knowledge through the </a:t>
            </a:r>
            <a:r>
              <a:rPr lang="en-US" altLang="ja-JP" sz="1800" dirty="0" smtClean="0">
                <a:latin typeface="Roboto"/>
              </a:rPr>
              <a:t>system.</a:t>
            </a:r>
            <a:endParaRPr lang="en-US" altLang="ja-JP" sz="1800" dirty="0">
              <a:latin typeface="Roboto"/>
            </a:endParaRPr>
          </a:p>
          <a:p>
            <a:pPr lvl="0" fontAlgn="base">
              <a:lnSpc>
                <a:spcPct val="150000"/>
              </a:lnSpc>
              <a:spcBef>
                <a:spcPct val="0"/>
              </a:spcBef>
              <a:spcAft>
                <a:spcPct val="0"/>
              </a:spcAft>
              <a:buClr>
                <a:srgbClr val="FF6600"/>
              </a:buClr>
            </a:pPr>
            <a:r>
              <a:rPr lang="en-US" altLang="ja-JP" sz="1800" b="1" dirty="0">
                <a:solidFill>
                  <a:srgbClr val="FF6600"/>
                </a:solidFill>
                <a:latin typeface="Roboto"/>
                <a:ea typeface="MS PGothic"/>
                <a:sym typeface="Wingdings" panose="05000000000000000000" pitchFamily="2" charset="2"/>
              </a:rPr>
              <a:t>Countermeasures for the risk</a:t>
            </a:r>
          </a:p>
          <a:p>
            <a:pPr marL="285750" indent="-285750" fontAlgn="base">
              <a:lnSpc>
                <a:spcPct val="150000"/>
              </a:lnSpc>
              <a:spcBef>
                <a:spcPct val="0"/>
              </a:spcBef>
              <a:spcAft>
                <a:spcPct val="0"/>
              </a:spcAft>
              <a:buClr>
                <a:srgbClr val="FF6600"/>
              </a:buClr>
              <a:buFont typeface="Wingdings" panose="05000000000000000000" pitchFamily="2" charset="2"/>
              <a:buChar char="Ø"/>
            </a:pPr>
            <a:r>
              <a:rPr lang="en-US" altLang="ja-JP" sz="1800" dirty="0" smtClean="0">
                <a:latin typeface="Roboto"/>
              </a:rPr>
              <a:t>Increase </a:t>
            </a:r>
            <a:r>
              <a:rPr lang="en-US" altLang="ja-JP" sz="1800" dirty="0">
                <a:latin typeface="Roboto"/>
              </a:rPr>
              <a:t>the time of  implementation schedule</a:t>
            </a:r>
            <a:r>
              <a:rPr lang="en-US" altLang="ja-JP" sz="1800" dirty="0" smtClean="0">
                <a:latin typeface="Roboto"/>
              </a:rPr>
              <a:t>.</a:t>
            </a:r>
          </a:p>
          <a:p>
            <a:pPr marL="285750" indent="-285750" fontAlgn="base">
              <a:lnSpc>
                <a:spcPct val="150000"/>
              </a:lnSpc>
              <a:spcBef>
                <a:spcPct val="0"/>
              </a:spcBef>
              <a:spcAft>
                <a:spcPct val="0"/>
              </a:spcAft>
              <a:buClr>
                <a:srgbClr val="FF6600"/>
              </a:buClr>
              <a:buFont typeface="Wingdings" panose="05000000000000000000" pitchFamily="2" charset="2"/>
              <a:buChar char="Ø"/>
            </a:pPr>
            <a:r>
              <a:rPr lang="en-US" altLang="ja-JP" sz="1800" dirty="0" smtClean="0">
                <a:latin typeface="Roboto"/>
              </a:rPr>
              <a:t>Make </a:t>
            </a:r>
            <a:r>
              <a:rPr lang="en-US" altLang="ja-JP" sz="1800" dirty="0">
                <a:latin typeface="Roboto"/>
              </a:rPr>
              <a:t>change management plan before Implement the system.</a:t>
            </a:r>
          </a:p>
          <a:p>
            <a:pPr fontAlgn="base">
              <a:lnSpc>
                <a:spcPct val="150000"/>
              </a:lnSpc>
              <a:spcBef>
                <a:spcPct val="0"/>
              </a:spcBef>
              <a:spcAft>
                <a:spcPct val="0"/>
              </a:spcAft>
              <a:buClr>
                <a:srgbClr val="CC0066"/>
              </a:buClr>
            </a:pPr>
            <a:endParaRPr lang="en-US" altLang="ja-JP" sz="1600" dirty="0">
              <a:latin typeface="Roboto"/>
            </a:endParaRPr>
          </a:p>
          <a:p>
            <a:pPr fontAlgn="base">
              <a:lnSpc>
                <a:spcPct val="150000"/>
              </a:lnSpc>
              <a:spcBef>
                <a:spcPct val="0"/>
              </a:spcBef>
              <a:spcAft>
                <a:spcPct val="0"/>
              </a:spcAft>
              <a:buClr>
                <a:srgbClr val="CC0066"/>
              </a:buClr>
            </a:pPr>
            <a:endParaRPr lang="ja-JP" altLang="ja-JP" sz="1600" dirty="0">
              <a:latin typeface="Roboto"/>
            </a:endParaRPr>
          </a:p>
        </p:txBody>
      </p:sp>
    </p:spTree>
    <p:extLst>
      <p:ext uri="{BB962C8B-B14F-4D97-AF65-F5344CB8AC3E}">
        <p14:creationId xmlns:p14="http://schemas.microsoft.com/office/powerpoint/2010/main" val="2257682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1000"/>
                                        <p:tgtEl>
                                          <p:spTgt spid="5">
                                            <p:txEl>
                                              <p:pRg st="1" end="1"/>
                                            </p:txEl>
                                          </p:spTgt>
                                        </p:tgtEl>
                                      </p:cBhvr>
                                    </p:animEffect>
                                    <p:anim calcmode="lin" valueType="num">
                                      <p:cBhvr>
                                        <p:cTn id="8"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xEl>
                                              <p:pRg st="4" end="4"/>
                                            </p:txEl>
                                          </p:spTgt>
                                        </p:tgtEl>
                                        <p:attrNameLst>
                                          <p:attrName>style.visibility</p:attrName>
                                        </p:attrNameLst>
                                      </p:cBhvr>
                                      <p:to>
                                        <p:strVal val="visible"/>
                                      </p:to>
                                    </p:set>
                                    <p:animEffect transition="in" filter="fade">
                                      <p:cBhvr>
                                        <p:cTn id="14" dur="1000"/>
                                        <p:tgtEl>
                                          <p:spTgt spid="5">
                                            <p:txEl>
                                              <p:pRg st="4" end="4"/>
                                            </p:txEl>
                                          </p:spTgt>
                                        </p:tgtEl>
                                      </p:cBhvr>
                                    </p:animEffect>
                                    <p:anim calcmode="lin" valueType="num">
                                      <p:cBhvr>
                                        <p:cTn id="15"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barn(inVertical)">
                                      <p:cBhvr>
                                        <p:cTn id="21" dur="500"/>
                                        <p:tgtEl>
                                          <p:spTgt spid="5">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5">
                                            <p:txEl>
                                              <p:pRg st="5" end="5"/>
                                            </p:txEl>
                                          </p:spTgt>
                                        </p:tgtEl>
                                        <p:attrNameLst>
                                          <p:attrName>style.visibility</p:attrName>
                                        </p:attrNameLst>
                                      </p:cBhvr>
                                      <p:to>
                                        <p:strVal val="visible"/>
                                      </p:to>
                                    </p:set>
                                    <p:animEffect transition="in" filter="fade">
                                      <p:cBhvr>
                                        <p:cTn id="26" dur="1000"/>
                                        <p:tgtEl>
                                          <p:spTgt spid="5">
                                            <p:txEl>
                                              <p:pRg st="5" end="5"/>
                                            </p:txEl>
                                          </p:spTgt>
                                        </p:tgtEl>
                                      </p:cBhvr>
                                    </p:animEffect>
                                    <p:anim calcmode="lin" valueType="num">
                                      <p:cBhvr>
                                        <p:cTn id="27" dur="100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28" dur="1000" fill="hold"/>
                                        <p:tgtEl>
                                          <p:spTgt spid="5">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t>Conclusion</a:t>
            </a:r>
            <a:endParaRPr lang="en-US" b="1" dirty="0"/>
          </a:p>
        </p:txBody>
      </p:sp>
      <p:sp>
        <p:nvSpPr>
          <p:cNvPr id="3" name="Slide Number Placeholder 2"/>
          <p:cNvSpPr>
            <a:spLocks noGrp="1"/>
          </p:cNvSpPr>
          <p:nvPr>
            <p:ph type="sldNum" idx="12"/>
          </p:nvPr>
        </p:nvSpPr>
        <p:spPr/>
        <p:txBody>
          <a:bodyPr/>
          <a:lstStyle/>
          <a:p>
            <a:pPr marL="0" lvl="0" indent="0">
              <a:spcBef>
                <a:spcPts val="0"/>
              </a:spcBef>
              <a:spcAft>
                <a:spcPts val="0"/>
              </a:spcAft>
              <a:buNone/>
            </a:pPr>
            <a:fld id="{00000000-1234-1234-1234-123412341234}" type="slidenum">
              <a:rPr lang="en" smtClean="0"/>
              <a:t>18</a:t>
            </a:fld>
            <a:endParaRPr lang="en"/>
          </a:p>
        </p:txBody>
      </p:sp>
      <p:grpSp>
        <p:nvGrpSpPr>
          <p:cNvPr id="4" name="Group 3"/>
          <p:cNvGrpSpPr/>
          <p:nvPr/>
        </p:nvGrpSpPr>
        <p:grpSpPr>
          <a:xfrm>
            <a:off x="2040846" y="1268600"/>
            <a:ext cx="5422030" cy="3729505"/>
            <a:chOff x="5572332" y="1576712"/>
            <a:chExt cx="1912209" cy="1315299"/>
          </a:xfrm>
        </p:grpSpPr>
        <p:sp>
          <p:nvSpPr>
            <p:cNvPr id="5" name="Rectangle 19"/>
            <p:cNvSpPr/>
            <p:nvPr/>
          </p:nvSpPr>
          <p:spPr>
            <a:xfrm rot="21599113">
              <a:off x="5572332" y="1581466"/>
              <a:ext cx="1856173" cy="1310545"/>
            </a:xfrm>
            <a:custGeom>
              <a:avLst/>
              <a:gdLst>
                <a:gd name="connsiteX0" fmla="*/ 0 w 1339596"/>
                <a:gd name="connsiteY0" fmla="*/ 0 h 1219200"/>
                <a:gd name="connsiteX1" fmla="*/ 1339596 w 1339596"/>
                <a:gd name="connsiteY1" fmla="*/ 0 h 1219200"/>
                <a:gd name="connsiteX2" fmla="*/ 1339596 w 1339596"/>
                <a:gd name="connsiteY2" fmla="*/ 1219200 h 1219200"/>
                <a:gd name="connsiteX3" fmla="*/ 0 w 1339596"/>
                <a:gd name="connsiteY3" fmla="*/ 1219200 h 1219200"/>
                <a:gd name="connsiteX4" fmla="*/ 0 w 1339596"/>
                <a:gd name="connsiteY4" fmla="*/ 0 h 1219200"/>
                <a:gd name="connsiteX0" fmla="*/ 0 w 1339596"/>
                <a:gd name="connsiteY0" fmla="*/ 11733 h 1230933"/>
                <a:gd name="connsiteX1" fmla="*/ 1306342 w 1339596"/>
                <a:gd name="connsiteY1" fmla="*/ 0 h 1230933"/>
                <a:gd name="connsiteX2" fmla="*/ 1339596 w 1339596"/>
                <a:gd name="connsiteY2" fmla="*/ 1230933 h 1230933"/>
                <a:gd name="connsiteX3" fmla="*/ 0 w 1339596"/>
                <a:gd name="connsiteY3" fmla="*/ 1230933 h 1230933"/>
                <a:gd name="connsiteX4" fmla="*/ 0 w 1339596"/>
                <a:gd name="connsiteY4" fmla="*/ 11733 h 1230933"/>
                <a:gd name="connsiteX0" fmla="*/ 55747 w 1339596"/>
                <a:gd name="connsiteY0" fmla="*/ 12706 h 1230933"/>
                <a:gd name="connsiteX1" fmla="*/ 1306342 w 1339596"/>
                <a:gd name="connsiteY1" fmla="*/ 0 h 1230933"/>
                <a:gd name="connsiteX2" fmla="*/ 1339596 w 1339596"/>
                <a:gd name="connsiteY2" fmla="*/ 1230933 h 1230933"/>
                <a:gd name="connsiteX3" fmla="*/ 0 w 1339596"/>
                <a:gd name="connsiteY3" fmla="*/ 1230933 h 1230933"/>
                <a:gd name="connsiteX4" fmla="*/ 55747 w 1339596"/>
                <a:gd name="connsiteY4" fmla="*/ 12706 h 1230933"/>
                <a:gd name="connsiteX0" fmla="*/ 28195 w 1339596"/>
                <a:gd name="connsiteY0" fmla="*/ 12225 h 1230933"/>
                <a:gd name="connsiteX1" fmla="*/ 1306342 w 1339596"/>
                <a:gd name="connsiteY1" fmla="*/ 0 h 1230933"/>
                <a:gd name="connsiteX2" fmla="*/ 1339596 w 1339596"/>
                <a:gd name="connsiteY2" fmla="*/ 1230933 h 1230933"/>
                <a:gd name="connsiteX3" fmla="*/ 0 w 1339596"/>
                <a:gd name="connsiteY3" fmla="*/ 1230933 h 1230933"/>
                <a:gd name="connsiteX4" fmla="*/ 28195 w 1339596"/>
                <a:gd name="connsiteY4" fmla="*/ 12225 h 1230933"/>
                <a:gd name="connsiteX0" fmla="*/ 28195 w 1353846"/>
                <a:gd name="connsiteY0" fmla="*/ 6385 h 1225093"/>
                <a:gd name="connsiteX1" fmla="*/ 1353846 w 1353846"/>
                <a:gd name="connsiteY1" fmla="*/ 0 h 1225093"/>
                <a:gd name="connsiteX2" fmla="*/ 1339596 w 1353846"/>
                <a:gd name="connsiteY2" fmla="*/ 1225093 h 1225093"/>
                <a:gd name="connsiteX3" fmla="*/ 0 w 1353846"/>
                <a:gd name="connsiteY3" fmla="*/ 1225093 h 1225093"/>
                <a:gd name="connsiteX4" fmla="*/ 28195 w 1353846"/>
                <a:gd name="connsiteY4" fmla="*/ 6385 h 1225093"/>
                <a:gd name="connsiteX0" fmla="*/ 20681 w 1353846"/>
                <a:gd name="connsiteY0" fmla="*/ 6253 h 1225093"/>
                <a:gd name="connsiteX1" fmla="*/ 1353846 w 1353846"/>
                <a:gd name="connsiteY1" fmla="*/ 0 h 1225093"/>
                <a:gd name="connsiteX2" fmla="*/ 1339596 w 1353846"/>
                <a:gd name="connsiteY2" fmla="*/ 1225093 h 1225093"/>
                <a:gd name="connsiteX3" fmla="*/ 0 w 1353846"/>
                <a:gd name="connsiteY3" fmla="*/ 1225093 h 1225093"/>
                <a:gd name="connsiteX4" fmla="*/ 20681 w 1353846"/>
                <a:gd name="connsiteY4" fmla="*/ 6253 h 1225093"/>
                <a:gd name="connsiteX0" fmla="*/ 20681 w 1339596"/>
                <a:gd name="connsiteY0" fmla="*/ 6603 h 1225443"/>
                <a:gd name="connsiteX1" fmla="*/ 1333808 w 1339596"/>
                <a:gd name="connsiteY1" fmla="*/ 0 h 1225443"/>
                <a:gd name="connsiteX2" fmla="*/ 1339596 w 1339596"/>
                <a:gd name="connsiteY2" fmla="*/ 1225443 h 1225443"/>
                <a:gd name="connsiteX3" fmla="*/ 0 w 1339596"/>
                <a:gd name="connsiteY3" fmla="*/ 1225443 h 1225443"/>
                <a:gd name="connsiteX4" fmla="*/ 20681 w 1339596"/>
                <a:gd name="connsiteY4" fmla="*/ 6603 h 1225443"/>
                <a:gd name="connsiteX0" fmla="*/ 33205 w 1339596"/>
                <a:gd name="connsiteY0" fmla="*/ 6822 h 1225443"/>
                <a:gd name="connsiteX1" fmla="*/ 1333808 w 1339596"/>
                <a:gd name="connsiteY1" fmla="*/ 0 h 1225443"/>
                <a:gd name="connsiteX2" fmla="*/ 1339596 w 1339596"/>
                <a:gd name="connsiteY2" fmla="*/ 1225443 h 1225443"/>
                <a:gd name="connsiteX3" fmla="*/ 0 w 1339596"/>
                <a:gd name="connsiteY3" fmla="*/ 1225443 h 1225443"/>
                <a:gd name="connsiteX4" fmla="*/ 33205 w 1339596"/>
                <a:gd name="connsiteY4" fmla="*/ 6822 h 1225443"/>
                <a:gd name="connsiteX0" fmla="*/ 13167 w 1339596"/>
                <a:gd name="connsiteY0" fmla="*/ 6472 h 1225443"/>
                <a:gd name="connsiteX1" fmla="*/ 1333808 w 1339596"/>
                <a:gd name="connsiteY1" fmla="*/ 0 h 1225443"/>
                <a:gd name="connsiteX2" fmla="*/ 1339596 w 1339596"/>
                <a:gd name="connsiteY2" fmla="*/ 1225443 h 1225443"/>
                <a:gd name="connsiteX3" fmla="*/ 0 w 1339596"/>
                <a:gd name="connsiteY3" fmla="*/ 1225443 h 1225443"/>
                <a:gd name="connsiteX4" fmla="*/ 13167 w 1339596"/>
                <a:gd name="connsiteY4" fmla="*/ 6472 h 1225443"/>
                <a:gd name="connsiteX0" fmla="*/ 13167 w 1333884"/>
                <a:gd name="connsiteY0" fmla="*/ 6472 h 1225443"/>
                <a:gd name="connsiteX1" fmla="*/ 1333808 w 1333884"/>
                <a:gd name="connsiteY1" fmla="*/ 0 h 1225443"/>
                <a:gd name="connsiteX2" fmla="*/ 1302330 w 1333884"/>
                <a:gd name="connsiteY2" fmla="*/ 1207253 h 1225443"/>
                <a:gd name="connsiteX3" fmla="*/ 0 w 1333884"/>
                <a:gd name="connsiteY3" fmla="*/ 1225443 h 1225443"/>
                <a:gd name="connsiteX4" fmla="*/ 13167 w 1333884"/>
                <a:gd name="connsiteY4" fmla="*/ 6472 h 1225443"/>
                <a:gd name="connsiteX0" fmla="*/ 13167 w 1334211"/>
                <a:gd name="connsiteY0" fmla="*/ 6472 h 1232826"/>
                <a:gd name="connsiteX1" fmla="*/ 1333808 w 1334211"/>
                <a:gd name="connsiteY1" fmla="*/ 0 h 1232826"/>
                <a:gd name="connsiteX2" fmla="*/ 1331950 w 1334211"/>
                <a:gd name="connsiteY2" fmla="*/ 1232826 h 1232826"/>
                <a:gd name="connsiteX3" fmla="*/ 0 w 1334211"/>
                <a:gd name="connsiteY3" fmla="*/ 1225443 h 1232826"/>
                <a:gd name="connsiteX4" fmla="*/ 13167 w 1334211"/>
                <a:gd name="connsiteY4" fmla="*/ 6472 h 1232826"/>
                <a:gd name="connsiteX0" fmla="*/ 13167 w 1333952"/>
                <a:gd name="connsiteY0" fmla="*/ 6472 h 1225443"/>
                <a:gd name="connsiteX1" fmla="*/ 1333808 w 1333952"/>
                <a:gd name="connsiteY1" fmla="*/ 0 h 1225443"/>
                <a:gd name="connsiteX2" fmla="*/ 1319601 w 1333952"/>
                <a:gd name="connsiteY2" fmla="*/ 1222588 h 1225443"/>
                <a:gd name="connsiteX3" fmla="*/ 0 w 1333952"/>
                <a:gd name="connsiteY3" fmla="*/ 1225443 h 1225443"/>
                <a:gd name="connsiteX4" fmla="*/ 13167 w 1333952"/>
                <a:gd name="connsiteY4" fmla="*/ 6472 h 1225443"/>
                <a:gd name="connsiteX0" fmla="*/ 30785 w 1333952"/>
                <a:gd name="connsiteY0" fmla="*/ 0 h 1235984"/>
                <a:gd name="connsiteX1" fmla="*/ 1333808 w 1333952"/>
                <a:gd name="connsiteY1" fmla="*/ 10541 h 1235984"/>
                <a:gd name="connsiteX2" fmla="*/ 1319601 w 1333952"/>
                <a:gd name="connsiteY2" fmla="*/ 1233129 h 1235984"/>
                <a:gd name="connsiteX3" fmla="*/ 0 w 1333952"/>
                <a:gd name="connsiteY3" fmla="*/ 1235984 h 1235984"/>
                <a:gd name="connsiteX4" fmla="*/ 30785 w 1333952"/>
                <a:gd name="connsiteY4" fmla="*/ 0 h 1235984"/>
                <a:gd name="connsiteX0" fmla="*/ 30785 w 1319601"/>
                <a:gd name="connsiteY0" fmla="*/ 0 h 1235984"/>
                <a:gd name="connsiteX1" fmla="*/ 1312848 w 1319601"/>
                <a:gd name="connsiteY1" fmla="*/ 20567 h 1235984"/>
                <a:gd name="connsiteX2" fmla="*/ 1319601 w 1319601"/>
                <a:gd name="connsiteY2" fmla="*/ 1233129 h 1235984"/>
                <a:gd name="connsiteX3" fmla="*/ 0 w 1319601"/>
                <a:gd name="connsiteY3" fmla="*/ 1235984 h 1235984"/>
                <a:gd name="connsiteX4" fmla="*/ 30785 w 1319601"/>
                <a:gd name="connsiteY4" fmla="*/ 0 h 1235984"/>
                <a:gd name="connsiteX0" fmla="*/ 30785 w 1319601"/>
                <a:gd name="connsiteY0" fmla="*/ 0 h 1258608"/>
                <a:gd name="connsiteX1" fmla="*/ 1312848 w 1319601"/>
                <a:gd name="connsiteY1" fmla="*/ 20567 h 1258608"/>
                <a:gd name="connsiteX2" fmla="*/ 1319601 w 1319601"/>
                <a:gd name="connsiteY2" fmla="*/ 1233129 h 1258608"/>
                <a:gd name="connsiteX3" fmla="*/ 0 w 1319601"/>
                <a:gd name="connsiteY3" fmla="*/ 1235984 h 1258608"/>
                <a:gd name="connsiteX4" fmla="*/ 30785 w 1319601"/>
                <a:gd name="connsiteY4" fmla="*/ 0 h 1258608"/>
                <a:gd name="connsiteX0" fmla="*/ 31250 w 1320066"/>
                <a:gd name="connsiteY0" fmla="*/ 0 h 1267432"/>
                <a:gd name="connsiteX1" fmla="*/ 1313313 w 1320066"/>
                <a:gd name="connsiteY1" fmla="*/ 20567 h 1267432"/>
                <a:gd name="connsiteX2" fmla="*/ 1320066 w 1320066"/>
                <a:gd name="connsiteY2" fmla="*/ 1233129 h 1267432"/>
                <a:gd name="connsiteX3" fmla="*/ 0 w 1320066"/>
                <a:gd name="connsiteY3" fmla="*/ 1260343 h 1267432"/>
                <a:gd name="connsiteX4" fmla="*/ 31250 w 1320066"/>
                <a:gd name="connsiteY4" fmla="*/ 0 h 1267432"/>
                <a:gd name="connsiteX0" fmla="*/ 31250 w 1320066"/>
                <a:gd name="connsiteY0" fmla="*/ 0 h 1268253"/>
                <a:gd name="connsiteX1" fmla="*/ 1313313 w 1320066"/>
                <a:gd name="connsiteY1" fmla="*/ 20567 h 1268253"/>
                <a:gd name="connsiteX2" fmla="*/ 1320066 w 1320066"/>
                <a:gd name="connsiteY2" fmla="*/ 1233129 h 1268253"/>
                <a:gd name="connsiteX3" fmla="*/ 0 w 1320066"/>
                <a:gd name="connsiteY3" fmla="*/ 1260343 h 1268253"/>
                <a:gd name="connsiteX4" fmla="*/ 31250 w 1320066"/>
                <a:gd name="connsiteY4" fmla="*/ 0 h 1268253"/>
                <a:gd name="connsiteX0" fmla="*/ 31250 w 1320066"/>
                <a:gd name="connsiteY0" fmla="*/ 0 h 1263844"/>
                <a:gd name="connsiteX1" fmla="*/ 1313313 w 1320066"/>
                <a:gd name="connsiteY1" fmla="*/ 20567 h 1263844"/>
                <a:gd name="connsiteX2" fmla="*/ 1320066 w 1320066"/>
                <a:gd name="connsiteY2" fmla="*/ 1233129 h 1263844"/>
                <a:gd name="connsiteX3" fmla="*/ 0 w 1320066"/>
                <a:gd name="connsiteY3" fmla="*/ 1260343 h 1263844"/>
                <a:gd name="connsiteX4" fmla="*/ 31250 w 1320066"/>
                <a:gd name="connsiteY4" fmla="*/ 0 h 1263844"/>
                <a:gd name="connsiteX0" fmla="*/ 31250 w 1320066"/>
                <a:gd name="connsiteY0" fmla="*/ 0 h 1263844"/>
                <a:gd name="connsiteX1" fmla="*/ 1313313 w 1320066"/>
                <a:gd name="connsiteY1" fmla="*/ 20567 h 1263844"/>
                <a:gd name="connsiteX2" fmla="*/ 1320066 w 1320066"/>
                <a:gd name="connsiteY2" fmla="*/ 1233129 h 1263844"/>
                <a:gd name="connsiteX3" fmla="*/ 0 w 1320066"/>
                <a:gd name="connsiteY3" fmla="*/ 1260343 h 1263844"/>
                <a:gd name="connsiteX4" fmla="*/ 31250 w 1320066"/>
                <a:gd name="connsiteY4" fmla="*/ 0 h 1263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066" h="1263844">
                  <a:moveTo>
                    <a:pt x="31250" y="0"/>
                  </a:moveTo>
                  <a:lnTo>
                    <a:pt x="1313313" y="20567"/>
                  </a:lnTo>
                  <a:cubicBezTo>
                    <a:pt x="1315242" y="429048"/>
                    <a:pt x="1291435" y="859628"/>
                    <a:pt x="1320066" y="1233129"/>
                  </a:cubicBezTo>
                  <a:cubicBezTo>
                    <a:pt x="665493" y="1279400"/>
                    <a:pt x="439867" y="1259391"/>
                    <a:pt x="0" y="1260343"/>
                  </a:cubicBezTo>
                  <a:lnTo>
                    <a:pt x="31250" y="0"/>
                  </a:lnTo>
                  <a:close/>
                </a:path>
              </a:pathLst>
            </a:custGeom>
            <a:gradFill flip="none" rotWithShape="1">
              <a:gsLst>
                <a:gs pos="0">
                  <a:srgbClr val="F6EBB6"/>
                </a:gs>
                <a:gs pos="100000">
                  <a:srgbClr val="F0DD80"/>
                </a:gs>
              </a:gsLst>
              <a:lin ang="5400000" scaled="1"/>
              <a:tileRect/>
            </a:gradFill>
            <a:ln>
              <a:noFill/>
            </a:ln>
            <a:effectLst>
              <a:outerShdw blurRad="38100" dist="12700" dir="54000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000" dirty="0">
                <a:solidFill>
                  <a:schemeClr val="tx1"/>
                </a:solidFill>
                <a:latin typeface="Arial" pitchFamily="34" charset="0"/>
                <a:cs typeface="Arial" pitchFamily="34" charset="0"/>
              </a:endParaRPr>
            </a:p>
          </p:txBody>
        </p:sp>
        <p:grpSp>
          <p:nvGrpSpPr>
            <p:cNvPr id="6" name="Group 5"/>
            <p:cNvGrpSpPr/>
            <p:nvPr/>
          </p:nvGrpSpPr>
          <p:grpSpPr>
            <a:xfrm rot="21599113">
              <a:off x="5994027" y="1795735"/>
              <a:ext cx="556708" cy="108470"/>
              <a:chOff x="1622395" y="4107270"/>
              <a:chExt cx="771062" cy="150236"/>
            </a:xfrm>
          </p:grpSpPr>
          <p:sp>
            <p:nvSpPr>
              <p:cNvPr id="15" name="Freeform 14"/>
              <p:cNvSpPr/>
              <p:nvPr/>
            </p:nvSpPr>
            <p:spPr>
              <a:xfrm rot="5400000" flipH="1" flipV="1">
                <a:off x="1951197" y="3837402"/>
                <a:ext cx="45719" cy="703323"/>
              </a:xfrm>
              <a:custGeom>
                <a:avLst/>
                <a:gdLst>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450428 w 1860336"/>
                  <a:gd name="connsiteY15" fmla="*/ 740979 h 1513490"/>
                  <a:gd name="connsiteX16" fmla="*/ 1497724 w 1860336"/>
                  <a:gd name="connsiteY16" fmla="*/ 788276 h 1513490"/>
                  <a:gd name="connsiteX17" fmla="*/ 1545021 w 1860336"/>
                  <a:gd name="connsiteY17" fmla="*/ 882869 h 1513490"/>
                  <a:gd name="connsiteX18" fmla="*/ 1592317 w 1860336"/>
                  <a:gd name="connsiteY18" fmla="*/ 977462 h 1513490"/>
                  <a:gd name="connsiteX19" fmla="*/ 1639614 w 1860336"/>
                  <a:gd name="connsiteY19" fmla="*/ 1008993 h 1513490"/>
                  <a:gd name="connsiteX20" fmla="*/ 1686910 w 1860336"/>
                  <a:gd name="connsiteY20" fmla="*/ 1056290 h 1513490"/>
                  <a:gd name="connsiteX21" fmla="*/ 1734207 w 1860336"/>
                  <a:gd name="connsiteY21" fmla="*/ 1182414 h 1513490"/>
                  <a:gd name="connsiteX22" fmla="*/ 1749973 w 1860336"/>
                  <a:gd name="connsiteY22" fmla="*/ 1229710 h 1513490"/>
                  <a:gd name="connsiteX23" fmla="*/ 1797269 w 1860336"/>
                  <a:gd name="connsiteY23" fmla="*/ 1261241 h 1513490"/>
                  <a:gd name="connsiteX24" fmla="*/ 1813035 w 1860336"/>
                  <a:gd name="connsiteY24" fmla="*/ 1340069 h 1513490"/>
                  <a:gd name="connsiteX25" fmla="*/ 1844566 w 1860336"/>
                  <a:gd name="connsiteY25" fmla="*/ 1387365 h 1513490"/>
                  <a:gd name="connsiteX26" fmla="*/ 1860331 w 1860336"/>
                  <a:gd name="connsiteY26"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450428 w 1860336"/>
                  <a:gd name="connsiteY15" fmla="*/ 740979 h 1513490"/>
                  <a:gd name="connsiteX16" fmla="*/ 1497724 w 1860336"/>
                  <a:gd name="connsiteY16" fmla="*/ 788276 h 1513490"/>
                  <a:gd name="connsiteX17" fmla="*/ 1545021 w 1860336"/>
                  <a:gd name="connsiteY17" fmla="*/ 882869 h 1513490"/>
                  <a:gd name="connsiteX18" fmla="*/ 1592317 w 1860336"/>
                  <a:gd name="connsiteY18" fmla="*/ 977462 h 1513490"/>
                  <a:gd name="connsiteX19" fmla="*/ 1686910 w 1860336"/>
                  <a:gd name="connsiteY19" fmla="*/ 1056290 h 1513490"/>
                  <a:gd name="connsiteX20" fmla="*/ 1734207 w 1860336"/>
                  <a:gd name="connsiteY20" fmla="*/ 1182414 h 1513490"/>
                  <a:gd name="connsiteX21" fmla="*/ 1749973 w 1860336"/>
                  <a:gd name="connsiteY21" fmla="*/ 1229710 h 1513490"/>
                  <a:gd name="connsiteX22" fmla="*/ 1797269 w 1860336"/>
                  <a:gd name="connsiteY22" fmla="*/ 1261241 h 1513490"/>
                  <a:gd name="connsiteX23" fmla="*/ 1813035 w 1860336"/>
                  <a:gd name="connsiteY23" fmla="*/ 1340069 h 1513490"/>
                  <a:gd name="connsiteX24" fmla="*/ 1844566 w 1860336"/>
                  <a:gd name="connsiteY24" fmla="*/ 1387365 h 1513490"/>
                  <a:gd name="connsiteX25" fmla="*/ 1860331 w 1860336"/>
                  <a:gd name="connsiteY25"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450428 w 1860336"/>
                  <a:gd name="connsiteY15" fmla="*/ 740979 h 1513490"/>
                  <a:gd name="connsiteX16" fmla="*/ 1497724 w 1860336"/>
                  <a:gd name="connsiteY16" fmla="*/ 788276 h 1513490"/>
                  <a:gd name="connsiteX17" fmla="*/ 1545021 w 1860336"/>
                  <a:gd name="connsiteY17" fmla="*/ 882869 h 1513490"/>
                  <a:gd name="connsiteX18" fmla="*/ 1686910 w 1860336"/>
                  <a:gd name="connsiteY18" fmla="*/ 1056290 h 1513490"/>
                  <a:gd name="connsiteX19" fmla="*/ 1734207 w 1860336"/>
                  <a:gd name="connsiteY19" fmla="*/ 1182414 h 1513490"/>
                  <a:gd name="connsiteX20" fmla="*/ 1749973 w 1860336"/>
                  <a:gd name="connsiteY20" fmla="*/ 1229710 h 1513490"/>
                  <a:gd name="connsiteX21" fmla="*/ 1797269 w 1860336"/>
                  <a:gd name="connsiteY21" fmla="*/ 1261241 h 1513490"/>
                  <a:gd name="connsiteX22" fmla="*/ 1813035 w 1860336"/>
                  <a:gd name="connsiteY22" fmla="*/ 1340069 h 1513490"/>
                  <a:gd name="connsiteX23" fmla="*/ 1844566 w 1860336"/>
                  <a:gd name="connsiteY23" fmla="*/ 1387365 h 1513490"/>
                  <a:gd name="connsiteX24" fmla="*/ 1860331 w 1860336"/>
                  <a:gd name="connsiteY24"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450428 w 1860336"/>
                  <a:gd name="connsiteY15" fmla="*/ 740979 h 1513490"/>
                  <a:gd name="connsiteX16" fmla="*/ 1497724 w 1860336"/>
                  <a:gd name="connsiteY16" fmla="*/ 788276 h 1513490"/>
                  <a:gd name="connsiteX17" fmla="*/ 1686910 w 1860336"/>
                  <a:gd name="connsiteY17" fmla="*/ 1056290 h 1513490"/>
                  <a:gd name="connsiteX18" fmla="*/ 1734207 w 1860336"/>
                  <a:gd name="connsiteY18" fmla="*/ 1182414 h 1513490"/>
                  <a:gd name="connsiteX19" fmla="*/ 1749973 w 1860336"/>
                  <a:gd name="connsiteY19" fmla="*/ 1229710 h 1513490"/>
                  <a:gd name="connsiteX20" fmla="*/ 1797269 w 1860336"/>
                  <a:gd name="connsiteY20" fmla="*/ 1261241 h 1513490"/>
                  <a:gd name="connsiteX21" fmla="*/ 1813035 w 1860336"/>
                  <a:gd name="connsiteY21" fmla="*/ 1340069 h 1513490"/>
                  <a:gd name="connsiteX22" fmla="*/ 1844566 w 1860336"/>
                  <a:gd name="connsiteY22" fmla="*/ 1387365 h 1513490"/>
                  <a:gd name="connsiteX23" fmla="*/ 1860331 w 1860336"/>
                  <a:gd name="connsiteY23"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450428 w 1860336"/>
                  <a:gd name="connsiteY15" fmla="*/ 740979 h 1513490"/>
                  <a:gd name="connsiteX16" fmla="*/ 1686910 w 1860336"/>
                  <a:gd name="connsiteY16" fmla="*/ 1056290 h 1513490"/>
                  <a:gd name="connsiteX17" fmla="*/ 1734207 w 1860336"/>
                  <a:gd name="connsiteY17" fmla="*/ 1182414 h 1513490"/>
                  <a:gd name="connsiteX18" fmla="*/ 1749973 w 1860336"/>
                  <a:gd name="connsiteY18" fmla="*/ 1229710 h 1513490"/>
                  <a:gd name="connsiteX19" fmla="*/ 1797269 w 1860336"/>
                  <a:gd name="connsiteY19" fmla="*/ 1261241 h 1513490"/>
                  <a:gd name="connsiteX20" fmla="*/ 1813035 w 1860336"/>
                  <a:gd name="connsiteY20" fmla="*/ 1340069 h 1513490"/>
                  <a:gd name="connsiteX21" fmla="*/ 1844566 w 1860336"/>
                  <a:gd name="connsiteY21" fmla="*/ 1387365 h 1513490"/>
                  <a:gd name="connsiteX22" fmla="*/ 1860331 w 1860336"/>
                  <a:gd name="connsiteY22"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686910 w 1860336"/>
                  <a:gd name="connsiteY15" fmla="*/ 1056290 h 1513490"/>
                  <a:gd name="connsiteX16" fmla="*/ 1734207 w 1860336"/>
                  <a:gd name="connsiteY16" fmla="*/ 1182414 h 1513490"/>
                  <a:gd name="connsiteX17" fmla="*/ 1749973 w 1860336"/>
                  <a:gd name="connsiteY17" fmla="*/ 1229710 h 1513490"/>
                  <a:gd name="connsiteX18" fmla="*/ 1797269 w 1860336"/>
                  <a:gd name="connsiteY18" fmla="*/ 1261241 h 1513490"/>
                  <a:gd name="connsiteX19" fmla="*/ 1813035 w 1860336"/>
                  <a:gd name="connsiteY19" fmla="*/ 1340069 h 1513490"/>
                  <a:gd name="connsiteX20" fmla="*/ 1844566 w 1860336"/>
                  <a:gd name="connsiteY20" fmla="*/ 1387365 h 1513490"/>
                  <a:gd name="connsiteX21" fmla="*/ 1860331 w 1860336"/>
                  <a:gd name="connsiteY21"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686910 w 1860336"/>
                  <a:gd name="connsiteY15" fmla="*/ 1056290 h 1513490"/>
                  <a:gd name="connsiteX16" fmla="*/ 1707097 w 1860336"/>
                  <a:gd name="connsiteY16" fmla="*/ 1149306 h 1513490"/>
                  <a:gd name="connsiteX17" fmla="*/ 1734207 w 1860336"/>
                  <a:gd name="connsiteY17" fmla="*/ 1182414 h 1513490"/>
                  <a:gd name="connsiteX18" fmla="*/ 1749973 w 1860336"/>
                  <a:gd name="connsiteY18" fmla="*/ 1229710 h 1513490"/>
                  <a:gd name="connsiteX19" fmla="*/ 1797269 w 1860336"/>
                  <a:gd name="connsiteY19" fmla="*/ 1261241 h 1513490"/>
                  <a:gd name="connsiteX20" fmla="*/ 1813035 w 1860336"/>
                  <a:gd name="connsiteY20" fmla="*/ 1340069 h 1513490"/>
                  <a:gd name="connsiteX21" fmla="*/ 1844566 w 1860336"/>
                  <a:gd name="connsiteY21" fmla="*/ 1387365 h 1513490"/>
                  <a:gd name="connsiteX22" fmla="*/ 1860331 w 1860336"/>
                  <a:gd name="connsiteY22"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686910 w 1860336"/>
                  <a:gd name="connsiteY15" fmla="*/ 1056290 h 1513490"/>
                  <a:gd name="connsiteX16" fmla="*/ 1734207 w 1860336"/>
                  <a:gd name="connsiteY16" fmla="*/ 1182414 h 1513490"/>
                  <a:gd name="connsiteX17" fmla="*/ 1749973 w 1860336"/>
                  <a:gd name="connsiteY17" fmla="*/ 1229710 h 1513490"/>
                  <a:gd name="connsiteX18" fmla="*/ 1797269 w 1860336"/>
                  <a:gd name="connsiteY18" fmla="*/ 1261241 h 1513490"/>
                  <a:gd name="connsiteX19" fmla="*/ 1813035 w 1860336"/>
                  <a:gd name="connsiteY19" fmla="*/ 1340069 h 1513490"/>
                  <a:gd name="connsiteX20" fmla="*/ 1844566 w 1860336"/>
                  <a:gd name="connsiteY20" fmla="*/ 1387365 h 1513490"/>
                  <a:gd name="connsiteX21" fmla="*/ 1860331 w 1860336"/>
                  <a:gd name="connsiteY21"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686910 w 1860336"/>
                  <a:gd name="connsiteY15" fmla="*/ 1056290 h 1513490"/>
                  <a:gd name="connsiteX16" fmla="*/ 1718007 w 1860336"/>
                  <a:gd name="connsiteY16" fmla="*/ 1129571 h 1513490"/>
                  <a:gd name="connsiteX17" fmla="*/ 1734207 w 1860336"/>
                  <a:gd name="connsiteY17" fmla="*/ 1182414 h 1513490"/>
                  <a:gd name="connsiteX18" fmla="*/ 1749973 w 1860336"/>
                  <a:gd name="connsiteY18" fmla="*/ 1229710 h 1513490"/>
                  <a:gd name="connsiteX19" fmla="*/ 1797269 w 1860336"/>
                  <a:gd name="connsiteY19" fmla="*/ 1261241 h 1513490"/>
                  <a:gd name="connsiteX20" fmla="*/ 1813035 w 1860336"/>
                  <a:gd name="connsiteY20" fmla="*/ 1340069 h 1513490"/>
                  <a:gd name="connsiteX21" fmla="*/ 1844566 w 1860336"/>
                  <a:gd name="connsiteY21" fmla="*/ 1387365 h 1513490"/>
                  <a:gd name="connsiteX22" fmla="*/ 1860331 w 1860336"/>
                  <a:gd name="connsiteY22"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686910 w 1860336"/>
                  <a:gd name="connsiteY15" fmla="*/ 1056290 h 1513490"/>
                  <a:gd name="connsiteX16" fmla="*/ 1734207 w 1860336"/>
                  <a:gd name="connsiteY16" fmla="*/ 1182414 h 1513490"/>
                  <a:gd name="connsiteX17" fmla="*/ 1749973 w 1860336"/>
                  <a:gd name="connsiteY17" fmla="*/ 1229710 h 1513490"/>
                  <a:gd name="connsiteX18" fmla="*/ 1797269 w 1860336"/>
                  <a:gd name="connsiteY18" fmla="*/ 1261241 h 1513490"/>
                  <a:gd name="connsiteX19" fmla="*/ 1813035 w 1860336"/>
                  <a:gd name="connsiteY19" fmla="*/ 1340069 h 1513490"/>
                  <a:gd name="connsiteX20" fmla="*/ 1844566 w 1860336"/>
                  <a:gd name="connsiteY20" fmla="*/ 1387365 h 1513490"/>
                  <a:gd name="connsiteX21" fmla="*/ 1860331 w 1860336"/>
                  <a:gd name="connsiteY21"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686910 w 1860336"/>
                  <a:gd name="connsiteY15" fmla="*/ 1056290 h 1513490"/>
                  <a:gd name="connsiteX16" fmla="*/ 1749973 w 1860336"/>
                  <a:gd name="connsiteY16" fmla="*/ 1229710 h 1513490"/>
                  <a:gd name="connsiteX17" fmla="*/ 1797269 w 1860336"/>
                  <a:gd name="connsiteY17" fmla="*/ 1261241 h 1513490"/>
                  <a:gd name="connsiteX18" fmla="*/ 1813035 w 1860336"/>
                  <a:gd name="connsiteY18" fmla="*/ 1340069 h 1513490"/>
                  <a:gd name="connsiteX19" fmla="*/ 1844566 w 1860336"/>
                  <a:gd name="connsiteY19" fmla="*/ 1387365 h 1513490"/>
                  <a:gd name="connsiteX20" fmla="*/ 1860331 w 1860336"/>
                  <a:gd name="connsiteY20"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686910 w 1860336"/>
                  <a:gd name="connsiteY15" fmla="*/ 1056290 h 1513490"/>
                  <a:gd name="connsiteX16" fmla="*/ 1797269 w 1860336"/>
                  <a:gd name="connsiteY16" fmla="*/ 1261241 h 1513490"/>
                  <a:gd name="connsiteX17" fmla="*/ 1813035 w 1860336"/>
                  <a:gd name="connsiteY17" fmla="*/ 1340069 h 1513490"/>
                  <a:gd name="connsiteX18" fmla="*/ 1844566 w 1860336"/>
                  <a:gd name="connsiteY18" fmla="*/ 1387365 h 1513490"/>
                  <a:gd name="connsiteX19" fmla="*/ 1860331 w 1860336"/>
                  <a:gd name="connsiteY19"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686910 w 1860336"/>
                  <a:gd name="connsiteY15" fmla="*/ 1056290 h 1513490"/>
                  <a:gd name="connsiteX16" fmla="*/ 1813035 w 1860336"/>
                  <a:gd name="connsiteY16" fmla="*/ 1340069 h 1513490"/>
                  <a:gd name="connsiteX17" fmla="*/ 1844566 w 1860336"/>
                  <a:gd name="connsiteY17" fmla="*/ 1387365 h 1513490"/>
                  <a:gd name="connsiteX18" fmla="*/ 1860331 w 1860336"/>
                  <a:gd name="connsiteY18" fmla="*/ 1513490 h 1513490"/>
                  <a:gd name="connsiteX0" fmla="*/ 0 w 1860336"/>
                  <a:gd name="connsiteY0" fmla="*/ 0 h 1513490"/>
                  <a:gd name="connsiteX1" fmla="*/ 236483 w 1860336"/>
                  <a:gd name="connsiteY1" fmla="*/ 47296 h 1513490"/>
                  <a:gd name="connsiteX2" fmla="*/ 378373 w 1860336"/>
                  <a:gd name="connsiteY2" fmla="*/ 78828 h 1513490"/>
                  <a:gd name="connsiteX3" fmla="*/ 457200 w 1860336"/>
                  <a:gd name="connsiteY3" fmla="*/ 94593 h 1513490"/>
                  <a:gd name="connsiteX4" fmla="*/ 536028 w 1860336"/>
                  <a:gd name="connsiteY4" fmla="*/ 126124 h 1513490"/>
                  <a:gd name="connsiteX5" fmla="*/ 583324 w 1860336"/>
                  <a:gd name="connsiteY5" fmla="*/ 141890 h 1513490"/>
                  <a:gd name="connsiteX6" fmla="*/ 630621 w 1860336"/>
                  <a:gd name="connsiteY6" fmla="*/ 173421 h 1513490"/>
                  <a:gd name="connsiteX7" fmla="*/ 740979 w 1860336"/>
                  <a:gd name="connsiteY7" fmla="*/ 204952 h 1513490"/>
                  <a:gd name="connsiteX8" fmla="*/ 851338 w 1860336"/>
                  <a:gd name="connsiteY8" fmla="*/ 252248 h 1513490"/>
                  <a:gd name="connsiteX9" fmla="*/ 898635 w 1860336"/>
                  <a:gd name="connsiteY9" fmla="*/ 283779 h 1513490"/>
                  <a:gd name="connsiteX10" fmla="*/ 945931 w 1860336"/>
                  <a:gd name="connsiteY10" fmla="*/ 299545 h 1513490"/>
                  <a:gd name="connsiteX11" fmla="*/ 1040524 w 1860336"/>
                  <a:gd name="connsiteY11" fmla="*/ 346841 h 1513490"/>
                  <a:gd name="connsiteX12" fmla="*/ 1182414 w 1860336"/>
                  <a:gd name="connsiteY12" fmla="*/ 488731 h 1513490"/>
                  <a:gd name="connsiteX13" fmla="*/ 1229710 w 1860336"/>
                  <a:gd name="connsiteY13" fmla="*/ 536028 h 1513490"/>
                  <a:gd name="connsiteX14" fmla="*/ 1308538 w 1860336"/>
                  <a:gd name="connsiteY14" fmla="*/ 599090 h 1513490"/>
                  <a:gd name="connsiteX15" fmla="*/ 1686910 w 1860336"/>
                  <a:gd name="connsiteY15" fmla="*/ 1056290 h 1513490"/>
                  <a:gd name="connsiteX16" fmla="*/ 1844566 w 1860336"/>
                  <a:gd name="connsiteY16" fmla="*/ 1387365 h 1513490"/>
                  <a:gd name="connsiteX17" fmla="*/ 1860331 w 1860336"/>
                  <a:gd name="connsiteY17" fmla="*/ 1513490 h 1513490"/>
                  <a:gd name="connsiteX0" fmla="*/ 0 w 1860331"/>
                  <a:gd name="connsiteY0" fmla="*/ 0 h 1513490"/>
                  <a:gd name="connsiteX1" fmla="*/ 236483 w 1860331"/>
                  <a:gd name="connsiteY1" fmla="*/ 47296 h 1513490"/>
                  <a:gd name="connsiteX2" fmla="*/ 378373 w 1860331"/>
                  <a:gd name="connsiteY2" fmla="*/ 78828 h 1513490"/>
                  <a:gd name="connsiteX3" fmla="*/ 457200 w 1860331"/>
                  <a:gd name="connsiteY3" fmla="*/ 94593 h 1513490"/>
                  <a:gd name="connsiteX4" fmla="*/ 536028 w 1860331"/>
                  <a:gd name="connsiteY4" fmla="*/ 126124 h 1513490"/>
                  <a:gd name="connsiteX5" fmla="*/ 583324 w 1860331"/>
                  <a:gd name="connsiteY5" fmla="*/ 141890 h 1513490"/>
                  <a:gd name="connsiteX6" fmla="*/ 630621 w 1860331"/>
                  <a:gd name="connsiteY6" fmla="*/ 173421 h 1513490"/>
                  <a:gd name="connsiteX7" fmla="*/ 740979 w 1860331"/>
                  <a:gd name="connsiteY7" fmla="*/ 204952 h 1513490"/>
                  <a:gd name="connsiteX8" fmla="*/ 851338 w 1860331"/>
                  <a:gd name="connsiteY8" fmla="*/ 252248 h 1513490"/>
                  <a:gd name="connsiteX9" fmla="*/ 898635 w 1860331"/>
                  <a:gd name="connsiteY9" fmla="*/ 283779 h 1513490"/>
                  <a:gd name="connsiteX10" fmla="*/ 945931 w 1860331"/>
                  <a:gd name="connsiteY10" fmla="*/ 299545 h 1513490"/>
                  <a:gd name="connsiteX11" fmla="*/ 1040524 w 1860331"/>
                  <a:gd name="connsiteY11" fmla="*/ 346841 h 1513490"/>
                  <a:gd name="connsiteX12" fmla="*/ 1182414 w 1860331"/>
                  <a:gd name="connsiteY12" fmla="*/ 488731 h 1513490"/>
                  <a:gd name="connsiteX13" fmla="*/ 1229710 w 1860331"/>
                  <a:gd name="connsiteY13" fmla="*/ 536028 h 1513490"/>
                  <a:gd name="connsiteX14" fmla="*/ 1308538 w 1860331"/>
                  <a:gd name="connsiteY14" fmla="*/ 599090 h 1513490"/>
                  <a:gd name="connsiteX15" fmla="*/ 1686910 w 1860331"/>
                  <a:gd name="connsiteY15" fmla="*/ 1056290 h 1513490"/>
                  <a:gd name="connsiteX16" fmla="*/ 1860331 w 1860331"/>
                  <a:gd name="connsiteY16" fmla="*/ 1513490 h 1513490"/>
                  <a:gd name="connsiteX0" fmla="*/ 0 w 1860331"/>
                  <a:gd name="connsiteY0" fmla="*/ 0 h 1513490"/>
                  <a:gd name="connsiteX1" fmla="*/ 236483 w 1860331"/>
                  <a:gd name="connsiteY1" fmla="*/ 47296 h 1513490"/>
                  <a:gd name="connsiteX2" fmla="*/ 378373 w 1860331"/>
                  <a:gd name="connsiteY2" fmla="*/ 78828 h 1513490"/>
                  <a:gd name="connsiteX3" fmla="*/ 457200 w 1860331"/>
                  <a:gd name="connsiteY3" fmla="*/ 94593 h 1513490"/>
                  <a:gd name="connsiteX4" fmla="*/ 536028 w 1860331"/>
                  <a:gd name="connsiteY4" fmla="*/ 126124 h 1513490"/>
                  <a:gd name="connsiteX5" fmla="*/ 583324 w 1860331"/>
                  <a:gd name="connsiteY5" fmla="*/ 141890 h 1513490"/>
                  <a:gd name="connsiteX6" fmla="*/ 630621 w 1860331"/>
                  <a:gd name="connsiteY6" fmla="*/ 173421 h 1513490"/>
                  <a:gd name="connsiteX7" fmla="*/ 740979 w 1860331"/>
                  <a:gd name="connsiteY7" fmla="*/ 204952 h 1513490"/>
                  <a:gd name="connsiteX8" fmla="*/ 851338 w 1860331"/>
                  <a:gd name="connsiteY8" fmla="*/ 252248 h 1513490"/>
                  <a:gd name="connsiteX9" fmla="*/ 898635 w 1860331"/>
                  <a:gd name="connsiteY9" fmla="*/ 283779 h 1513490"/>
                  <a:gd name="connsiteX10" fmla="*/ 945931 w 1860331"/>
                  <a:gd name="connsiteY10" fmla="*/ 299545 h 1513490"/>
                  <a:gd name="connsiteX11" fmla="*/ 1040524 w 1860331"/>
                  <a:gd name="connsiteY11" fmla="*/ 346841 h 1513490"/>
                  <a:gd name="connsiteX12" fmla="*/ 1182414 w 1860331"/>
                  <a:gd name="connsiteY12" fmla="*/ 488731 h 1513490"/>
                  <a:gd name="connsiteX13" fmla="*/ 1229710 w 1860331"/>
                  <a:gd name="connsiteY13" fmla="*/ 536028 h 1513490"/>
                  <a:gd name="connsiteX14" fmla="*/ 1686910 w 1860331"/>
                  <a:gd name="connsiteY14" fmla="*/ 1056290 h 1513490"/>
                  <a:gd name="connsiteX15" fmla="*/ 1860331 w 1860331"/>
                  <a:gd name="connsiteY15" fmla="*/ 1513490 h 1513490"/>
                  <a:gd name="connsiteX0" fmla="*/ 0 w 1860331"/>
                  <a:gd name="connsiteY0" fmla="*/ 0 h 1513490"/>
                  <a:gd name="connsiteX1" fmla="*/ 236483 w 1860331"/>
                  <a:gd name="connsiteY1" fmla="*/ 47296 h 1513490"/>
                  <a:gd name="connsiteX2" fmla="*/ 378373 w 1860331"/>
                  <a:gd name="connsiteY2" fmla="*/ 78828 h 1513490"/>
                  <a:gd name="connsiteX3" fmla="*/ 457200 w 1860331"/>
                  <a:gd name="connsiteY3" fmla="*/ 94593 h 1513490"/>
                  <a:gd name="connsiteX4" fmla="*/ 536028 w 1860331"/>
                  <a:gd name="connsiteY4" fmla="*/ 126124 h 1513490"/>
                  <a:gd name="connsiteX5" fmla="*/ 583324 w 1860331"/>
                  <a:gd name="connsiteY5" fmla="*/ 141890 h 1513490"/>
                  <a:gd name="connsiteX6" fmla="*/ 630621 w 1860331"/>
                  <a:gd name="connsiteY6" fmla="*/ 173421 h 1513490"/>
                  <a:gd name="connsiteX7" fmla="*/ 740979 w 1860331"/>
                  <a:gd name="connsiteY7" fmla="*/ 204952 h 1513490"/>
                  <a:gd name="connsiteX8" fmla="*/ 851338 w 1860331"/>
                  <a:gd name="connsiteY8" fmla="*/ 252248 h 1513490"/>
                  <a:gd name="connsiteX9" fmla="*/ 898635 w 1860331"/>
                  <a:gd name="connsiteY9" fmla="*/ 283779 h 1513490"/>
                  <a:gd name="connsiteX10" fmla="*/ 945931 w 1860331"/>
                  <a:gd name="connsiteY10" fmla="*/ 299545 h 1513490"/>
                  <a:gd name="connsiteX11" fmla="*/ 1040524 w 1860331"/>
                  <a:gd name="connsiteY11" fmla="*/ 346841 h 1513490"/>
                  <a:gd name="connsiteX12" fmla="*/ 1182414 w 1860331"/>
                  <a:gd name="connsiteY12" fmla="*/ 488731 h 1513490"/>
                  <a:gd name="connsiteX13" fmla="*/ 1686910 w 1860331"/>
                  <a:gd name="connsiteY13" fmla="*/ 1056290 h 1513490"/>
                  <a:gd name="connsiteX14" fmla="*/ 1860331 w 1860331"/>
                  <a:gd name="connsiteY14" fmla="*/ 1513490 h 1513490"/>
                  <a:gd name="connsiteX0" fmla="*/ 0 w 1860331"/>
                  <a:gd name="connsiteY0" fmla="*/ 0 h 1513490"/>
                  <a:gd name="connsiteX1" fmla="*/ 236483 w 1860331"/>
                  <a:gd name="connsiteY1" fmla="*/ 47296 h 1513490"/>
                  <a:gd name="connsiteX2" fmla="*/ 378373 w 1860331"/>
                  <a:gd name="connsiteY2" fmla="*/ 78828 h 1513490"/>
                  <a:gd name="connsiteX3" fmla="*/ 457200 w 1860331"/>
                  <a:gd name="connsiteY3" fmla="*/ 94593 h 1513490"/>
                  <a:gd name="connsiteX4" fmla="*/ 536028 w 1860331"/>
                  <a:gd name="connsiteY4" fmla="*/ 126124 h 1513490"/>
                  <a:gd name="connsiteX5" fmla="*/ 583324 w 1860331"/>
                  <a:gd name="connsiteY5" fmla="*/ 141890 h 1513490"/>
                  <a:gd name="connsiteX6" fmla="*/ 630621 w 1860331"/>
                  <a:gd name="connsiteY6" fmla="*/ 173421 h 1513490"/>
                  <a:gd name="connsiteX7" fmla="*/ 740979 w 1860331"/>
                  <a:gd name="connsiteY7" fmla="*/ 204952 h 1513490"/>
                  <a:gd name="connsiteX8" fmla="*/ 851338 w 1860331"/>
                  <a:gd name="connsiteY8" fmla="*/ 252248 h 1513490"/>
                  <a:gd name="connsiteX9" fmla="*/ 898635 w 1860331"/>
                  <a:gd name="connsiteY9" fmla="*/ 283779 h 1513490"/>
                  <a:gd name="connsiteX10" fmla="*/ 945931 w 1860331"/>
                  <a:gd name="connsiteY10" fmla="*/ 299545 h 1513490"/>
                  <a:gd name="connsiteX11" fmla="*/ 1182414 w 1860331"/>
                  <a:gd name="connsiteY11" fmla="*/ 488731 h 1513490"/>
                  <a:gd name="connsiteX12" fmla="*/ 1686910 w 1860331"/>
                  <a:gd name="connsiteY12" fmla="*/ 1056290 h 1513490"/>
                  <a:gd name="connsiteX13" fmla="*/ 1860331 w 1860331"/>
                  <a:gd name="connsiteY13" fmla="*/ 1513490 h 1513490"/>
                  <a:gd name="connsiteX0" fmla="*/ 0 w 1860331"/>
                  <a:gd name="connsiteY0" fmla="*/ 0 h 1513490"/>
                  <a:gd name="connsiteX1" fmla="*/ 378373 w 1860331"/>
                  <a:gd name="connsiteY1" fmla="*/ 78828 h 1513490"/>
                  <a:gd name="connsiteX2" fmla="*/ 457200 w 1860331"/>
                  <a:gd name="connsiteY2" fmla="*/ 94593 h 1513490"/>
                  <a:gd name="connsiteX3" fmla="*/ 536028 w 1860331"/>
                  <a:gd name="connsiteY3" fmla="*/ 126124 h 1513490"/>
                  <a:gd name="connsiteX4" fmla="*/ 583324 w 1860331"/>
                  <a:gd name="connsiteY4" fmla="*/ 141890 h 1513490"/>
                  <a:gd name="connsiteX5" fmla="*/ 630621 w 1860331"/>
                  <a:gd name="connsiteY5" fmla="*/ 173421 h 1513490"/>
                  <a:gd name="connsiteX6" fmla="*/ 740979 w 1860331"/>
                  <a:gd name="connsiteY6" fmla="*/ 204952 h 1513490"/>
                  <a:gd name="connsiteX7" fmla="*/ 851338 w 1860331"/>
                  <a:gd name="connsiteY7" fmla="*/ 252248 h 1513490"/>
                  <a:gd name="connsiteX8" fmla="*/ 898635 w 1860331"/>
                  <a:gd name="connsiteY8" fmla="*/ 283779 h 1513490"/>
                  <a:gd name="connsiteX9" fmla="*/ 945931 w 1860331"/>
                  <a:gd name="connsiteY9" fmla="*/ 299545 h 1513490"/>
                  <a:gd name="connsiteX10" fmla="*/ 1182414 w 1860331"/>
                  <a:gd name="connsiteY10" fmla="*/ 488731 h 1513490"/>
                  <a:gd name="connsiteX11" fmla="*/ 1686910 w 1860331"/>
                  <a:gd name="connsiteY11" fmla="*/ 1056290 h 1513490"/>
                  <a:gd name="connsiteX12" fmla="*/ 1860331 w 1860331"/>
                  <a:gd name="connsiteY12" fmla="*/ 1513490 h 1513490"/>
                  <a:gd name="connsiteX0" fmla="*/ 0 w 1860331"/>
                  <a:gd name="connsiteY0" fmla="*/ 0 h 1513490"/>
                  <a:gd name="connsiteX1" fmla="*/ 457200 w 1860331"/>
                  <a:gd name="connsiteY1" fmla="*/ 94593 h 1513490"/>
                  <a:gd name="connsiteX2" fmla="*/ 536028 w 1860331"/>
                  <a:gd name="connsiteY2" fmla="*/ 126124 h 1513490"/>
                  <a:gd name="connsiteX3" fmla="*/ 583324 w 1860331"/>
                  <a:gd name="connsiteY3" fmla="*/ 141890 h 1513490"/>
                  <a:gd name="connsiteX4" fmla="*/ 630621 w 1860331"/>
                  <a:gd name="connsiteY4" fmla="*/ 173421 h 1513490"/>
                  <a:gd name="connsiteX5" fmla="*/ 740979 w 1860331"/>
                  <a:gd name="connsiteY5" fmla="*/ 204952 h 1513490"/>
                  <a:gd name="connsiteX6" fmla="*/ 851338 w 1860331"/>
                  <a:gd name="connsiteY6" fmla="*/ 252248 h 1513490"/>
                  <a:gd name="connsiteX7" fmla="*/ 898635 w 1860331"/>
                  <a:gd name="connsiteY7" fmla="*/ 283779 h 1513490"/>
                  <a:gd name="connsiteX8" fmla="*/ 945931 w 1860331"/>
                  <a:gd name="connsiteY8" fmla="*/ 299545 h 1513490"/>
                  <a:gd name="connsiteX9" fmla="*/ 1182414 w 1860331"/>
                  <a:gd name="connsiteY9" fmla="*/ 488731 h 1513490"/>
                  <a:gd name="connsiteX10" fmla="*/ 1686910 w 1860331"/>
                  <a:gd name="connsiteY10" fmla="*/ 1056290 h 1513490"/>
                  <a:gd name="connsiteX11" fmla="*/ 1860331 w 1860331"/>
                  <a:gd name="connsiteY11" fmla="*/ 1513490 h 1513490"/>
                  <a:gd name="connsiteX0" fmla="*/ 0 w 1860331"/>
                  <a:gd name="connsiteY0" fmla="*/ 0 h 1513490"/>
                  <a:gd name="connsiteX1" fmla="*/ 536028 w 1860331"/>
                  <a:gd name="connsiteY1" fmla="*/ 126124 h 1513490"/>
                  <a:gd name="connsiteX2" fmla="*/ 583324 w 1860331"/>
                  <a:gd name="connsiteY2" fmla="*/ 141890 h 1513490"/>
                  <a:gd name="connsiteX3" fmla="*/ 630621 w 1860331"/>
                  <a:gd name="connsiteY3" fmla="*/ 173421 h 1513490"/>
                  <a:gd name="connsiteX4" fmla="*/ 740979 w 1860331"/>
                  <a:gd name="connsiteY4" fmla="*/ 204952 h 1513490"/>
                  <a:gd name="connsiteX5" fmla="*/ 851338 w 1860331"/>
                  <a:gd name="connsiteY5" fmla="*/ 252248 h 1513490"/>
                  <a:gd name="connsiteX6" fmla="*/ 898635 w 1860331"/>
                  <a:gd name="connsiteY6" fmla="*/ 283779 h 1513490"/>
                  <a:gd name="connsiteX7" fmla="*/ 945931 w 1860331"/>
                  <a:gd name="connsiteY7" fmla="*/ 299545 h 1513490"/>
                  <a:gd name="connsiteX8" fmla="*/ 1182414 w 1860331"/>
                  <a:gd name="connsiteY8" fmla="*/ 488731 h 1513490"/>
                  <a:gd name="connsiteX9" fmla="*/ 1686910 w 1860331"/>
                  <a:gd name="connsiteY9" fmla="*/ 1056290 h 1513490"/>
                  <a:gd name="connsiteX10" fmla="*/ 1860331 w 1860331"/>
                  <a:gd name="connsiteY10" fmla="*/ 1513490 h 1513490"/>
                  <a:gd name="connsiteX0" fmla="*/ 0 w 1860331"/>
                  <a:gd name="connsiteY0" fmla="*/ 0 h 1513490"/>
                  <a:gd name="connsiteX1" fmla="*/ 583324 w 1860331"/>
                  <a:gd name="connsiteY1" fmla="*/ 141890 h 1513490"/>
                  <a:gd name="connsiteX2" fmla="*/ 630621 w 1860331"/>
                  <a:gd name="connsiteY2" fmla="*/ 173421 h 1513490"/>
                  <a:gd name="connsiteX3" fmla="*/ 740979 w 1860331"/>
                  <a:gd name="connsiteY3" fmla="*/ 204952 h 1513490"/>
                  <a:gd name="connsiteX4" fmla="*/ 851338 w 1860331"/>
                  <a:gd name="connsiteY4" fmla="*/ 252248 h 1513490"/>
                  <a:gd name="connsiteX5" fmla="*/ 898635 w 1860331"/>
                  <a:gd name="connsiteY5" fmla="*/ 283779 h 1513490"/>
                  <a:gd name="connsiteX6" fmla="*/ 945931 w 1860331"/>
                  <a:gd name="connsiteY6" fmla="*/ 299545 h 1513490"/>
                  <a:gd name="connsiteX7" fmla="*/ 1182414 w 1860331"/>
                  <a:gd name="connsiteY7" fmla="*/ 488731 h 1513490"/>
                  <a:gd name="connsiteX8" fmla="*/ 1686910 w 1860331"/>
                  <a:gd name="connsiteY8" fmla="*/ 1056290 h 1513490"/>
                  <a:gd name="connsiteX9" fmla="*/ 1860331 w 1860331"/>
                  <a:gd name="connsiteY9" fmla="*/ 1513490 h 1513490"/>
                  <a:gd name="connsiteX0" fmla="*/ 0 w 1860331"/>
                  <a:gd name="connsiteY0" fmla="*/ 0 h 1513490"/>
                  <a:gd name="connsiteX1" fmla="*/ 630621 w 1860331"/>
                  <a:gd name="connsiteY1" fmla="*/ 173421 h 1513490"/>
                  <a:gd name="connsiteX2" fmla="*/ 740979 w 1860331"/>
                  <a:gd name="connsiteY2" fmla="*/ 204952 h 1513490"/>
                  <a:gd name="connsiteX3" fmla="*/ 851338 w 1860331"/>
                  <a:gd name="connsiteY3" fmla="*/ 252248 h 1513490"/>
                  <a:gd name="connsiteX4" fmla="*/ 898635 w 1860331"/>
                  <a:gd name="connsiteY4" fmla="*/ 283779 h 1513490"/>
                  <a:gd name="connsiteX5" fmla="*/ 945931 w 1860331"/>
                  <a:gd name="connsiteY5" fmla="*/ 299545 h 1513490"/>
                  <a:gd name="connsiteX6" fmla="*/ 1182414 w 1860331"/>
                  <a:gd name="connsiteY6" fmla="*/ 488731 h 1513490"/>
                  <a:gd name="connsiteX7" fmla="*/ 1686910 w 1860331"/>
                  <a:gd name="connsiteY7" fmla="*/ 1056290 h 1513490"/>
                  <a:gd name="connsiteX8" fmla="*/ 1860331 w 1860331"/>
                  <a:gd name="connsiteY8" fmla="*/ 1513490 h 1513490"/>
                  <a:gd name="connsiteX0" fmla="*/ 0 w 1860331"/>
                  <a:gd name="connsiteY0" fmla="*/ 0 h 1513490"/>
                  <a:gd name="connsiteX1" fmla="*/ 740979 w 1860331"/>
                  <a:gd name="connsiteY1" fmla="*/ 204952 h 1513490"/>
                  <a:gd name="connsiteX2" fmla="*/ 851338 w 1860331"/>
                  <a:gd name="connsiteY2" fmla="*/ 252248 h 1513490"/>
                  <a:gd name="connsiteX3" fmla="*/ 898635 w 1860331"/>
                  <a:gd name="connsiteY3" fmla="*/ 283779 h 1513490"/>
                  <a:gd name="connsiteX4" fmla="*/ 945931 w 1860331"/>
                  <a:gd name="connsiteY4" fmla="*/ 299545 h 1513490"/>
                  <a:gd name="connsiteX5" fmla="*/ 1182414 w 1860331"/>
                  <a:gd name="connsiteY5" fmla="*/ 488731 h 1513490"/>
                  <a:gd name="connsiteX6" fmla="*/ 1686910 w 1860331"/>
                  <a:gd name="connsiteY6" fmla="*/ 1056290 h 1513490"/>
                  <a:gd name="connsiteX7" fmla="*/ 1860331 w 1860331"/>
                  <a:gd name="connsiteY7" fmla="*/ 1513490 h 1513490"/>
                  <a:gd name="connsiteX0" fmla="*/ 0 w 1860331"/>
                  <a:gd name="connsiteY0" fmla="*/ 0 h 1513490"/>
                  <a:gd name="connsiteX1" fmla="*/ 851338 w 1860331"/>
                  <a:gd name="connsiteY1" fmla="*/ 252248 h 1513490"/>
                  <a:gd name="connsiteX2" fmla="*/ 898635 w 1860331"/>
                  <a:gd name="connsiteY2" fmla="*/ 283779 h 1513490"/>
                  <a:gd name="connsiteX3" fmla="*/ 945931 w 1860331"/>
                  <a:gd name="connsiteY3" fmla="*/ 299545 h 1513490"/>
                  <a:gd name="connsiteX4" fmla="*/ 1182414 w 1860331"/>
                  <a:gd name="connsiteY4" fmla="*/ 488731 h 1513490"/>
                  <a:gd name="connsiteX5" fmla="*/ 1686910 w 1860331"/>
                  <a:gd name="connsiteY5" fmla="*/ 1056290 h 1513490"/>
                  <a:gd name="connsiteX6" fmla="*/ 1860331 w 1860331"/>
                  <a:gd name="connsiteY6" fmla="*/ 1513490 h 1513490"/>
                  <a:gd name="connsiteX0" fmla="*/ 0 w 1860331"/>
                  <a:gd name="connsiteY0" fmla="*/ 0 h 1513490"/>
                  <a:gd name="connsiteX1" fmla="*/ 898635 w 1860331"/>
                  <a:gd name="connsiteY1" fmla="*/ 283779 h 1513490"/>
                  <a:gd name="connsiteX2" fmla="*/ 945931 w 1860331"/>
                  <a:gd name="connsiteY2" fmla="*/ 299545 h 1513490"/>
                  <a:gd name="connsiteX3" fmla="*/ 1182414 w 1860331"/>
                  <a:gd name="connsiteY3" fmla="*/ 488731 h 1513490"/>
                  <a:gd name="connsiteX4" fmla="*/ 1686910 w 1860331"/>
                  <a:gd name="connsiteY4" fmla="*/ 1056290 h 1513490"/>
                  <a:gd name="connsiteX5" fmla="*/ 1860331 w 1860331"/>
                  <a:gd name="connsiteY5" fmla="*/ 1513490 h 1513490"/>
                  <a:gd name="connsiteX0" fmla="*/ 0 w 1860331"/>
                  <a:gd name="connsiteY0" fmla="*/ 0 h 1513490"/>
                  <a:gd name="connsiteX1" fmla="*/ 945931 w 1860331"/>
                  <a:gd name="connsiteY1" fmla="*/ 299545 h 1513490"/>
                  <a:gd name="connsiteX2" fmla="*/ 1182414 w 1860331"/>
                  <a:gd name="connsiteY2" fmla="*/ 488731 h 1513490"/>
                  <a:gd name="connsiteX3" fmla="*/ 1686910 w 1860331"/>
                  <a:gd name="connsiteY3" fmla="*/ 1056290 h 1513490"/>
                  <a:gd name="connsiteX4" fmla="*/ 1860331 w 1860331"/>
                  <a:gd name="connsiteY4" fmla="*/ 1513490 h 1513490"/>
                  <a:gd name="connsiteX0" fmla="*/ 0 w 1860331"/>
                  <a:gd name="connsiteY0" fmla="*/ 0 h 1513490"/>
                  <a:gd name="connsiteX1" fmla="*/ 1182414 w 1860331"/>
                  <a:gd name="connsiteY1" fmla="*/ 488731 h 1513490"/>
                  <a:gd name="connsiteX2" fmla="*/ 1686910 w 1860331"/>
                  <a:gd name="connsiteY2" fmla="*/ 1056290 h 1513490"/>
                  <a:gd name="connsiteX3" fmla="*/ 1860331 w 1860331"/>
                  <a:gd name="connsiteY3" fmla="*/ 1513490 h 1513490"/>
                  <a:gd name="connsiteX0" fmla="*/ 0 w 1860331"/>
                  <a:gd name="connsiteY0" fmla="*/ 0 h 1513490"/>
                  <a:gd name="connsiteX1" fmla="*/ 1182414 w 1860331"/>
                  <a:gd name="connsiteY1" fmla="*/ 488731 h 1513490"/>
                  <a:gd name="connsiteX2" fmla="*/ 1686910 w 1860331"/>
                  <a:gd name="connsiteY2" fmla="*/ 1056290 h 1513490"/>
                  <a:gd name="connsiteX3" fmla="*/ 1860331 w 1860331"/>
                  <a:gd name="connsiteY3" fmla="*/ 1513490 h 1513490"/>
                  <a:gd name="connsiteX0" fmla="*/ 0 w 1860331"/>
                  <a:gd name="connsiteY0" fmla="*/ 0 h 1513490"/>
                  <a:gd name="connsiteX1" fmla="*/ 1182414 w 1860331"/>
                  <a:gd name="connsiteY1" fmla="*/ 488731 h 1513490"/>
                  <a:gd name="connsiteX2" fmla="*/ 1686910 w 1860331"/>
                  <a:gd name="connsiteY2" fmla="*/ 1056290 h 1513490"/>
                  <a:gd name="connsiteX3" fmla="*/ 1860331 w 1860331"/>
                  <a:gd name="connsiteY3" fmla="*/ 1513490 h 1513490"/>
                  <a:gd name="connsiteX0" fmla="*/ 0 w 1860331"/>
                  <a:gd name="connsiteY0" fmla="*/ 0 h 1513490"/>
                  <a:gd name="connsiteX1" fmla="*/ 1182414 w 1860331"/>
                  <a:gd name="connsiteY1" fmla="*/ 488731 h 1513490"/>
                  <a:gd name="connsiteX2" fmla="*/ 1686910 w 1860331"/>
                  <a:gd name="connsiteY2" fmla="*/ 1056290 h 1513490"/>
                  <a:gd name="connsiteX3" fmla="*/ 1860331 w 1860331"/>
                  <a:gd name="connsiteY3" fmla="*/ 1513490 h 1513490"/>
                  <a:gd name="connsiteX0" fmla="*/ 0 w 1860331"/>
                  <a:gd name="connsiteY0" fmla="*/ 0 h 1513490"/>
                  <a:gd name="connsiteX1" fmla="*/ 1686910 w 1860331"/>
                  <a:gd name="connsiteY1" fmla="*/ 1056290 h 1513490"/>
                  <a:gd name="connsiteX2" fmla="*/ 1860331 w 1860331"/>
                  <a:gd name="connsiteY2" fmla="*/ 1513490 h 1513490"/>
                  <a:gd name="connsiteX0" fmla="*/ 0 w 1860331"/>
                  <a:gd name="connsiteY0" fmla="*/ 0 h 1513490"/>
                  <a:gd name="connsiteX1" fmla="*/ 1227327 w 1860331"/>
                  <a:gd name="connsiteY1" fmla="*/ 498644 h 1513490"/>
                  <a:gd name="connsiteX2" fmla="*/ 1860331 w 1860331"/>
                  <a:gd name="connsiteY2" fmla="*/ 1513490 h 1513490"/>
                  <a:gd name="connsiteX0" fmla="*/ 0 w 1860331"/>
                  <a:gd name="connsiteY0" fmla="*/ 0 h 1513490"/>
                  <a:gd name="connsiteX1" fmla="*/ 1227327 w 1860331"/>
                  <a:gd name="connsiteY1" fmla="*/ 498644 h 1513490"/>
                  <a:gd name="connsiteX2" fmla="*/ 1860331 w 1860331"/>
                  <a:gd name="connsiteY2" fmla="*/ 1513490 h 1513490"/>
                  <a:gd name="connsiteX0" fmla="*/ 0 w 1860331"/>
                  <a:gd name="connsiteY0" fmla="*/ 0 h 1513490"/>
                  <a:gd name="connsiteX1" fmla="*/ 1227327 w 1860331"/>
                  <a:gd name="connsiteY1" fmla="*/ 498644 h 1513490"/>
                  <a:gd name="connsiteX2" fmla="*/ 1860331 w 1860331"/>
                  <a:gd name="connsiteY2" fmla="*/ 1513490 h 1513490"/>
                  <a:gd name="connsiteX0" fmla="*/ 0 w 1860331"/>
                  <a:gd name="connsiteY0" fmla="*/ 0 h 1513490"/>
                  <a:gd name="connsiteX1" fmla="*/ 1227327 w 1860331"/>
                  <a:gd name="connsiteY1" fmla="*/ 498644 h 1513490"/>
                  <a:gd name="connsiteX2" fmla="*/ 1860331 w 1860331"/>
                  <a:gd name="connsiteY2" fmla="*/ 1513490 h 1513490"/>
                  <a:gd name="connsiteX0" fmla="*/ 0 w 1860331"/>
                  <a:gd name="connsiteY0" fmla="*/ 0 h 1513490"/>
                  <a:gd name="connsiteX1" fmla="*/ 1227327 w 1860331"/>
                  <a:gd name="connsiteY1" fmla="*/ 498644 h 1513490"/>
                  <a:gd name="connsiteX2" fmla="*/ 1860331 w 1860331"/>
                  <a:gd name="connsiteY2" fmla="*/ 1513490 h 1513490"/>
                </a:gdLst>
                <a:ahLst/>
                <a:cxnLst>
                  <a:cxn ang="0">
                    <a:pos x="connsiteX0" y="connsiteY0"/>
                  </a:cxn>
                  <a:cxn ang="0">
                    <a:pos x="connsiteX1" y="connsiteY1"/>
                  </a:cxn>
                  <a:cxn ang="0">
                    <a:pos x="connsiteX2" y="connsiteY2"/>
                  </a:cxn>
                </a:cxnLst>
                <a:rect l="l" t="t" r="r" b="b"/>
                <a:pathLst>
                  <a:path w="1860331" h="1513490">
                    <a:moveTo>
                      <a:pt x="0" y="0"/>
                    </a:moveTo>
                    <a:cubicBezTo>
                      <a:pt x="401019" y="16170"/>
                      <a:pt x="969843" y="261328"/>
                      <a:pt x="1227327" y="498644"/>
                    </a:cubicBezTo>
                    <a:cubicBezTo>
                      <a:pt x="1484811" y="735960"/>
                      <a:pt x="1762688" y="1094770"/>
                      <a:pt x="1860331" y="1513490"/>
                    </a:cubicBezTo>
                  </a:path>
                </a:pathLst>
              </a:custGeom>
              <a:noFill/>
              <a:ln w="19050" cap="rnd">
                <a:solidFill>
                  <a:schemeClr val="tx1">
                    <a:lumMod val="85000"/>
                    <a:lumOff val="1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200">
                  <a:solidFill>
                    <a:schemeClr val="lt1"/>
                  </a:solidFill>
                </a:endParaRPr>
              </a:p>
            </p:txBody>
          </p:sp>
          <p:sp>
            <p:nvSpPr>
              <p:cNvPr id="16" name="Freeform 15"/>
              <p:cNvSpPr/>
              <p:nvPr/>
            </p:nvSpPr>
            <p:spPr>
              <a:xfrm rot="5789802" flipH="1" flipV="1">
                <a:off x="2192166" y="4056215"/>
                <a:ext cx="150236" cy="252346"/>
              </a:xfrm>
              <a:custGeom>
                <a:avLst/>
                <a:gdLst>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67927 w 329184"/>
                  <a:gd name="connsiteY4" fmla="*/ 141079 h 276933"/>
                  <a:gd name="connsiteX5" fmla="*/ 78378 w 329184"/>
                  <a:gd name="connsiteY5" fmla="*/ 161980 h 276933"/>
                  <a:gd name="connsiteX6" fmla="*/ 83603 w 329184"/>
                  <a:gd name="connsiteY6" fmla="*/ 177655 h 276933"/>
                  <a:gd name="connsiteX7" fmla="*/ 114954 w 329184"/>
                  <a:gd name="connsiteY7" fmla="*/ 209006 h 276933"/>
                  <a:gd name="connsiteX8" fmla="*/ 130629 w 329184"/>
                  <a:gd name="connsiteY8" fmla="*/ 224681 h 276933"/>
                  <a:gd name="connsiteX9" fmla="*/ 146304 w 329184"/>
                  <a:gd name="connsiteY9" fmla="*/ 240357 h 276933"/>
                  <a:gd name="connsiteX10" fmla="*/ 161980 w 329184"/>
                  <a:gd name="connsiteY10" fmla="*/ 245582 h 276933"/>
                  <a:gd name="connsiteX11" fmla="*/ 182880 w 329184"/>
                  <a:gd name="connsiteY11" fmla="*/ 261257 h 276933"/>
                  <a:gd name="connsiteX12" fmla="*/ 198556 w 329184"/>
                  <a:gd name="connsiteY12" fmla="*/ 266482 h 276933"/>
                  <a:gd name="connsiteX13" fmla="*/ 214231 w 329184"/>
                  <a:gd name="connsiteY13" fmla="*/ 276933 h 276933"/>
                  <a:gd name="connsiteX14" fmla="*/ 245582 w 329184"/>
                  <a:gd name="connsiteY14" fmla="*/ 219456 h 276933"/>
                  <a:gd name="connsiteX15" fmla="*/ 256032 w 329184"/>
                  <a:gd name="connsiteY15" fmla="*/ 135854 h 276933"/>
                  <a:gd name="connsiteX16" fmla="*/ 266483 w 329184"/>
                  <a:gd name="connsiteY16" fmla="*/ 120178 h 276933"/>
                  <a:gd name="connsiteX17" fmla="*/ 282158 w 329184"/>
                  <a:gd name="connsiteY17" fmla="*/ 83602 h 276933"/>
                  <a:gd name="connsiteX18" fmla="*/ 297834 w 329184"/>
                  <a:gd name="connsiteY18" fmla="*/ 52252 h 276933"/>
                  <a:gd name="connsiteX19" fmla="*/ 313509 w 329184"/>
                  <a:gd name="connsiteY19" fmla="*/ 20901 h 276933"/>
                  <a:gd name="connsiteX20" fmla="*/ 329184 w 329184"/>
                  <a:gd name="connsiteY20" fmla="*/ 0 h 276933"/>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67927 w 329184"/>
                  <a:gd name="connsiteY4" fmla="*/ 141079 h 276933"/>
                  <a:gd name="connsiteX5" fmla="*/ 78378 w 329184"/>
                  <a:gd name="connsiteY5" fmla="*/ 161980 h 276933"/>
                  <a:gd name="connsiteX6" fmla="*/ 83603 w 329184"/>
                  <a:gd name="connsiteY6" fmla="*/ 177655 h 276933"/>
                  <a:gd name="connsiteX7" fmla="*/ 114954 w 329184"/>
                  <a:gd name="connsiteY7" fmla="*/ 209006 h 276933"/>
                  <a:gd name="connsiteX8" fmla="*/ 130629 w 329184"/>
                  <a:gd name="connsiteY8" fmla="*/ 224681 h 276933"/>
                  <a:gd name="connsiteX9" fmla="*/ 146304 w 329184"/>
                  <a:gd name="connsiteY9" fmla="*/ 240357 h 276933"/>
                  <a:gd name="connsiteX10" fmla="*/ 161980 w 329184"/>
                  <a:gd name="connsiteY10" fmla="*/ 245582 h 276933"/>
                  <a:gd name="connsiteX11" fmla="*/ 182880 w 329184"/>
                  <a:gd name="connsiteY11" fmla="*/ 261257 h 276933"/>
                  <a:gd name="connsiteX12" fmla="*/ 198556 w 329184"/>
                  <a:gd name="connsiteY12" fmla="*/ 266482 h 276933"/>
                  <a:gd name="connsiteX13" fmla="*/ 214231 w 329184"/>
                  <a:gd name="connsiteY13" fmla="*/ 276933 h 276933"/>
                  <a:gd name="connsiteX14" fmla="*/ 245582 w 329184"/>
                  <a:gd name="connsiteY14" fmla="*/ 219456 h 276933"/>
                  <a:gd name="connsiteX15" fmla="*/ 266483 w 329184"/>
                  <a:gd name="connsiteY15" fmla="*/ 120178 h 276933"/>
                  <a:gd name="connsiteX16" fmla="*/ 282158 w 329184"/>
                  <a:gd name="connsiteY16" fmla="*/ 83602 h 276933"/>
                  <a:gd name="connsiteX17" fmla="*/ 297834 w 329184"/>
                  <a:gd name="connsiteY17" fmla="*/ 52252 h 276933"/>
                  <a:gd name="connsiteX18" fmla="*/ 313509 w 329184"/>
                  <a:gd name="connsiteY18" fmla="*/ 20901 h 276933"/>
                  <a:gd name="connsiteX19" fmla="*/ 329184 w 329184"/>
                  <a:gd name="connsiteY19" fmla="*/ 0 h 276933"/>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67927 w 329184"/>
                  <a:gd name="connsiteY4" fmla="*/ 141079 h 276933"/>
                  <a:gd name="connsiteX5" fmla="*/ 78378 w 329184"/>
                  <a:gd name="connsiteY5" fmla="*/ 161980 h 276933"/>
                  <a:gd name="connsiteX6" fmla="*/ 83603 w 329184"/>
                  <a:gd name="connsiteY6" fmla="*/ 177655 h 276933"/>
                  <a:gd name="connsiteX7" fmla="*/ 114954 w 329184"/>
                  <a:gd name="connsiteY7" fmla="*/ 209006 h 276933"/>
                  <a:gd name="connsiteX8" fmla="*/ 130629 w 329184"/>
                  <a:gd name="connsiteY8" fmla="*/ 224681 h 276933"/>
                  <a:gd name="connsiteX9" fmla="*/ 146304 w 329184"/>
                  <a:gd name="connsiteY9" fmla="*/ 240357 h 276933"/>
                  <a:gd name="connsiteX10" fmla="*/ 161980 w 329184"/>
                  <a:gd name="connsiteY10" fmla="*/ 245582 h 276933"/>
                  <a:gd name="connsiteX11" fmla="*/ 182880 w 329184"/>
                  <a:gd name="connsiteY11" fmla="*/ 261257 h 276933"/>
                  <a:gd name="connsiteX12" fmla="*/ 198556 w 329184"/>
                  <a:gd name="connsiteY12" fmla="*/ 266482 h 276933"/>
                  <a:gd name="connsiteX13" fmla="*/ 214231 w 329184"/>
                  <a:gd name="connsiteY13" fmla="*/ 276933 h 276933"/>
                  <a:gd name="connsiteX14" fmla="*/ 245582 w 329184"/>
                  <a:gd name="connsiteY14" fmla="*/ 219456 h 276933"/>
                  <a:gd name="connsiteX15" fmla="*/ 282703 w 329184"/>
                  <a:gd name="connsiteY15" fmla="*/ 134370 h 276933"/>
                  <a:gd name="connsiteX16" fmla="*/ 282158 w 329184"/>
                  <a:gd name="connsiteY16" fmla="*/ 83602 h 276933"/>
                  <a:gd name="connsiteX17" fmla="*/ 297834 w 329184"/>
                  <a:gd name="connsiteY17" fmla="*/ 52252 h 276933"/>
                  <a:gd name="connsiteX18" fmla="*/ 313509 w 329184"/>
                  <a:gd name="connsiteY18" fmla="*/ 20901 h 276933"/>
                  <a:gd name="connsiteX19" fmla="*/ 329184 w 329184"/>
                  <a:gd name="connsiteY19" fmla="*/ 0 h 276933"/>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67927 w 329184"/>
                  <a:gd name="connsiteY4" fmla="*/ 141079 h 276933"/>
                  <a:gd name="connsiteX5" fmla="*/ 78378 w 329184"/>
                  <a:gd name="connsiteY5" fmla="*/ 161980 h 276933"/>
                  <a:gd name="connsiteX6" fmla="*/ 83603 w 329184"/>
                  <a:gd name="connsiteY6" fmla="*/ 177655 h 276933"/>
                  <a:gd name="connsiteX7" fmla="*/ 114954 w 329184"/>
                  <a:gd name="connsiteY7" fmla="*/ 209006 h 276933"/>
                  <a:gd name="connsiteX8" fmla="*/ 130629 w 329184"/>
                  <a:gd name="connsiteY8" fmla="*/ 224681 h 276933"/>
                  <a:gd name="connsiteX9" fmla="*/ 146304 w 329184"/>
                  <a:gd name="connsiteY9" fmla="*/ 240357 h 276933"/>
                  <a:gd name="connsiteX10" fmla="*/ 161980 w 329184"/>
                  <a:gd name="connsiteY10" fmla="*/ 245582 h 276933"/>
                  <a:gd name="connsiteX11" fmla="*/ 182880 w 329184"/>
                  <a:gd name="connsiteY11" fmla="*/ 261257 h 276933"/>
                  <a:gd name="connsiteX12" fmla="*/ 198556 w 329184"/>
                  <a:gd name="connsiteY12" fmla="*/ 266482 h 276933"/>
                  <a:gd name="connsiteX13" fmla="*/ 214231 w 329184"/>
                  <a:gd name="connsiteY13" fmla="*/ 276933 h 276933"/>
                  <a:gd name="connsiteX14" fmla="*/ 245582 w 329184"/>
                  <a:gd name="connsiteY14" fmla="*/ 219456 h 276933"/>
                  <a:gd name="connsiteX15" fmla="*/ 282703 w 329184"/>
                  <a:gd name="connsiteY15" fmla="*/ 134370 h 276933"/>
                  <a:gd name="connsiteX16" fmla="*/ 298378 w 329184"/>
                  <a:gd name="connsiteY16" fmla="*/ 89684 h 276933"/>
                  <a:gd name="connsiteX17" fmla="*/ 297834 w 329184"/>
                  <a:gd name="connsiteY17" fmla="*/ 52252 h 276933"/>
                  <a:gd name="connsiteX18" fmla="*/ 313509 w 329184"/>
                  <a:gd name="connsiteY18" fmla="*/ 20901 h 276933"/>
                  <a:gd name="connsiteX19" fmla="*/ 329184 w 329184"/>
                  <a:gd name="connsiteY19" fmla="*/ 0 h 276933"/>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67927 w 329184"/>
                  <a:gd name="connsiteY4" fmla="*/ 141079 h 276933"/>
                  <a:gd name="connsiteX5" fmla="*/ 78378 w 329184"/>
                  <a:gd name="connsiteY5" fmla="*/ 161980 h 276933"/>
                  <a:gd name="connsiteX6" fmla="*/ 83603 w 329184"/>
                  <a:gd name="connsiteY6" fmla="*/ 177655 h 276933"/>
                  <a:gd name="connsiteX7" fmla="*/ 114954 w 329184"/>
                  <a:gd name="connsiteY7" fmla="*/ 209006 h 276933"/>
                  <a:gd name="connsiteX8" fmla="*/ 130629 w 329184"/>
                  <a:gd name="connsiteY8" fmla="*/ 224681 h 276933"/>
                  <a:gd name="connsiteX9" fmla="*/ 146304 w 329184"/>
                  <a:gd name="connsiteY9" fmla="*/ 240357 h 276933"/>
                  <a:gd name="connsiteX10" fmla="*/ 161980 w 329184"/>
                  <a:gd name="connsiteY10" fmla="*/ 245582 h 276933"/>
                  <a:gd name="connsiteX11" fmla="*/ 182880 w 329184"/>
                  <a:gd name="connsiteY11" fmla="*/ 261257 h 276933"/>
                  <a:gd name="connsiteX12" fmla="*/ 198556 w 329184"/>
                  <a:gd name="connsiteY12" fmla="*/ 266482 h 276933"/>
                  <a:gd name="connsiteX13" fmla="*/ 214231 w 329184"/>
                  <a:gd name="connsiteY13" fmla="*/ 276933 h 276933"/>
                  <a:gd name="connsiteX14" fmla="*/ 245582 w 329184"/>
                  <a:gd name="connsiteY14" fmla="*/ 219456 h 276933"/>
                  <a:gd name="connsiteX15" fmla="*/ 282703 w 329184"/>
                  <a:gd name="connsiteY15" fmla="*/ 134370 h 276933"/>
                  <a:gd name="connsiteX16" fmla="*/ 298378 w 329184"/>
                  <a:gd name="connsiteY16" fmla="*/ 89684 h 276933"/>
                  <a:gd name="connsiteX17" fmla="*/ 309999 w 329184"/>
                  <a:gd name="connsiteY17" fmla="*/ 56307 h 276933"/>
                  <a:gd name="connsiteX18" fmla="*/ 313509 w 329184"/>
                  <a:gd name="connsiteY18" fmla="*/ 20901 h 276933"/>
                  <a:gd name="connsiteX19" fmla="*/ 329184 w 329184"/>
                  <a:gd name="connsiteY19" fmla="*/ 0 h 276933"/>
                  <a:gd name="connsiteX0" fmla="*/ 0 w 329184"/>
                  <a:gd name="connsiteY0" fmla="*/ 80052 h 289058"/>
                  <a:gd name="connsiteX1" fmla="*/ 31351 w 329184"/>
                  <a:gd name="connsiteY1" fmla="*/ 90502 h 289058"/>
                  <a:gd name="connsiteX2" fmla="*/ 36576 w 329184"/>
                  <a:gd name="connsiteY2" fmla="*/ 106178 h 289058"/>
                  <a:gd name="connsiteX3" fmla="*/ 62702 w 329184"/>
                  <a:gd name="connsiteY3" fmla="*/ 137529 h 289058"/>
                  <a:gd name="connsiteX4" fmla="*/ 67927 w 329184"/>
                  <a:gd name="connsiteY4" fmla="*/ 153204 h 289058"/>
                  <a:gd name="connsiteX5" fmla="*/ 78378 w 329184"/>
                  <a:gd name="connsiteY5" fmla="*/ 174105 h 289058"/>
                  <a:gd name="connsiteX6" fmla="*/ 83603 w 329184"/>
                  <a:gd name="connsiteY6" fmla="*/ 189780 h 289058"/>
                  <a:gd name="connsiteX7" fmla="*/ 114954 w 329184"/>
                  <a:gd name="connsiteY7" fmla="*/ 221131 h 289058"/>
                  <a:gd name="connsiteX8" fmla="*/ 130629 w 329184"/>
                  <a:gd name="connsiteY8" fmla="*/ 236806 h 289058"/>
                  <a:gd name="connsiteX9" fmla="*/ 146304 w 329184"/>
                  <a:gd name="connsiteY9" fmla="*/ 252482 h 289058"/>
                  <a:gd name="connsiteX10" fmla="*/ 161980 w 329184"/>
                  <a:gd name="connsiteY10" fmla="*/ 257707 h 289058"/>
                  <a:gd name="connsiteX11" fmla="*/ 182880 w 329184"/>
                  <a:gd name="connsiteY11" fmla="*/ 273382 h 289058"/>
                  <a:gd name="connsiteX12" fmla="*/ 198556 w 329184"/>
                  <a:gd name="connsiteY12" fmla="*/ 278607 h 289058"/>
                  <a:gd name="connsiteX13" fmla="*/ 214231 w 329184"/>
                  <a:gd name="connsiteY13" fmla="*/ 289058 h 289058"/>
                  <a:gd name="connsiteX14" fmla="*/ 245582 w 329184"/>
                  <a:gd name="connsiteY14" fmla="*/ 231581 h 289058"/>
                  <a:gd name="connsiteX15" fmla="*/ 282703 w 329184"/>
                  <a:gd name="connsiteY15" fmla="*/ 146495 h 289058"/>
                  <a:gd name="connsiteX16" fmla="*/ 298378 w 329184"/>
                  <a:gd name="connsiteY16" fmla="*/ 101809 h 289058"/>
                  <a:gd name="connsiteX17" fmla="*/ 309999 w 329184"/>
                  <a:gd name="connsiteY17" fmla="*/ 68432 h 289058"/>
                  <a:gd name="connsiteX18" fmla="*/ 293234 w 329184"/>
                  <a:gd name="connsiteY18" fmla="*/ 2614 h 289058"/>
                  <a:gd name="connsiteX19" fmla="*/ 329184 w 329184"/>
                  <a:gd name="connsiteY19" fmla="*/ 12125 h 289058"/>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67927 w 329184"/>
                  <a:gd name="connsiteY4" fmla="*/ 141079 h 276933"/>
                  <a:gd name="connsiteX5" fmla="*/ 78378 w 329184"/>
                  <a:gd name="connsiteY5" fmla="*/ 161980 h 276933"/>
                  <a:gd name="connsiteX6" fmla="*/ 83603 w 329184"/>
                  <a:gd name="connsiteY6" fmla="*/ 177655 h 276933"/>
                  <a:gd name="connsiteX7" fmla="*/ 114954 w 329184"/>
                  <a:gd name="connsiteY7" fmla="*/ 209006 h 276933"/>
                  <a:gd name="connsiteX8" fmla="*/ 130629 w 329184"/>
                  <a:gd name="connsiteY8" fmla="*/ 224681 h 276933"/>
                  <a:gd name="connsiteX9" fmla="*/ 146304 w 329184"/>
                  <a:gd name="connsiteY9" fmla="*/ 240357 h 276933"/>
                  <a:gd name="connsiteX10" fmla="*/ 161980 w 329184"/>
                  <a:gd name="connsiteY10" fmla="*/ 245582 h 276933"/>
                  <a:gd name="connsiteX11" fmla="*/ 182880 w 329184"/>
                  <a:gd name="connsiteY11" fmla="*/ 261257 h 276933"/>
                  <a:gd name="connsiteX12" fmla="*/ 198556 w 329184"/>
                  <a:gd name="connsiteY12" fmla="*/ 266482 h 276933"/>
                  <a:gd name="connsiteX13" fmla="*/ 214231 w 329184"/>
                  <a:gd name="connsiteY13" fmla="*/ 276933 h 276933"/>
                  <a:gd name="connsiteX14" fmla="*/ 245582 w 329184"/>
                  <a:gd name="connsiteY14" fmla="*/ 219456 h 276933"/>
                  <a:gd name="connsiteX15" fmla="*/ 282703 w 329184"/>
                  <a:gd name="connsiteY15" fmla="*/ 134370 h 276933"/>
                  <a:gd name="connsiteX16" fmla="*/ 298378 w 329184"/>
                  <a:gd name="connsiteY16" fmla="*/ 89684 h 276933"/>
                  <a:gd name="connsiteX17" fmla="*/ 309999 w 329184"/>
                  <a:gd name="connsiteY17" fmla="*/ 56307 h 276933"/>
                  <a:gd name="connsiteX18" fmla="*/ 329184 w 329184"/>
                  <a:gd name="connsiteY18" fmla="*/ 0 h 276933"/>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67927 w 329184"/>
                  <a:gd name="connsiteY4" fmla="*/ 141079 h 276933"/>
                  <a:gd name="connsiteX5" fmla="*/ 78378 w 329184"/>
                  <a:gd name="connsiteY5" fmla="*/ 161980 h 276933"/>
                  <a:gd name="connsiteX6" fmla="*/ 83603 w 329184"/>
                  <a:gd name="connsiteY6" fmla="*/ 177655 h 276933"/>
                  <a:gd name="connsiteX7" fmla="*/ 114954 w 329184"/>
                  <a:gd name="connsiteY7" fmla="*/ 209006 h 276933"/>
                  <a:gd name="connsiteX8" fmla="*/ 130629 w 329184"/>
                  <a:gd name="connsiteY8" fmla="*/ 224681 h 276933"/>
                  <a:gd name="connsiteX9" fmla="*/ 146304 w 329184"/>
                  <a:gd name="connsiteY9" fmla="*/ 240357 h 276933"/>
                  <a:gd name="connsiteX10" fmla="*/ 161980 w 329184"/>
                  <a:gd name="connsiteY10" fmla="*/ 245582 h 276933"/>
                  <a:gd name="connsiteX11" fmla="*/ 182880 w 329184"/>
                  <a:gd name="connsiteY11" fmla="*/ 261257 h 276933"/>
                  <a:gd name="connsiteX12" fmla="*/ 198556 w 329184"/>
                  <a:gd name="connsiteY12" fmla="*/ 266482 h 276933"/>
                  <a:gd name="connsiteX13" fmla="*/ 214231 w 329184"/>
                  <a:gd name="connsiteY13" fmla="*/ 276933 h 276933"/>
                  <a:gd name="connsiteX14" fmla="*/ 251665 w 329184"/>
                  <a:gd name="connsiteY14" fmla="*/ 225539 h 276933"/>
                  <a:gd name="connsiteX15" fmla="*/ 282703 w 329184"/>
                  <a:gd name="connsiteY15" fmla="*/ 134370 h 276933"/>
                  <a:gd name="connsiteX16" fmla="*/ 298378 w 329184"/>
                  <a:gd name="connsiteY16" fmla="*/ 89684 h 276933"/>
                  <a:gd name="connsiteX17" fmla="*/ 309999 w 329184"/>
                  <a:gd name="connsiteY17" fmla="*/ 56307 h 276933"/>
                  <a:gd name="connsiteX18" fmla="*/ 329184 w 329184"/>
                  <a:gd name="connsiteY18" fmla="*/ 0 h 276933"/>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67927 w 329184"/>
                  <a:gd name="connsiteY4" fmla="*/ 141079 h 276933"/>
                  <a:gd name="connsiteX5" fmla="*/ 78378 w 329184"/>
                  <a:gd name="connsiteY5" fmla="*/ 161980 h 276933"/>
                  <a:gd name="connsiteX6" fmla="*/ 114954 w 329184"/>
                  <a:gd name="connsiteY6" fmla="*/ 209006 h 276933"/>
                  <a:gd name="connsiteX7" fmla="*/ 130629 w 329184"/>
                  <a:gd name="connsiteY7" fmla="*/ 224681 h 276933"/>
                  <a:gd name="connsiteX8" fmla="*/ 146304 w 329184"/>
                  <a:gd name="connsiteY8" fmla="*/ 240357 h 276933"/>
                  <a:gd name="connsiteX9" fmla="*/ 161980 w 329184"/>
                  <a:gd name="connsiteY9" fmla="*/ 245582 h 276933"/>
                  <a:gd name="connsiteX10" fmla="*/ 182880 w 329184"/>
                  <a:gd name="connsiteY10" fmla="*/ 261257 h 276933"/>
                  <a:gd name="connsiteX11" fmla="*/ 198556 w 329184"/>
                  <a:gd name="connsiteY11" fmla="*/ 266482 h 276933"/>
                  <a:gd name="connsiteX12" fmla="*/ 214231 w 329184"/>
                  <a:gd name="connsiteY12" fmla="*/ 276933 h 276933"/>
                  <a:gd name="connsiteX13" fmla="*/ 251665 w 329184"/>
                  <a:gd name="connsiteY13" fmla="*/ 225539 h 276933"/>
                  <a:gd name="connsiteX14" fmla="*/ 282703 w 329184"/>
                  <a:gd name="connsiteY14" fmla="*/ 134370 h 276933"/>
                  <a:gd name="connsiteX15" fmla="*/ 298378 w 329184"/>
                  <a:gd name="connsiteY15" fmla="*/ 89684 h 276933"/>
                  <a:gd name="connsiteX16" fmla="*/ 309999 w 329184"/>
                  <a:gd name="connsiteY16" fmla="*/ 56307 h 276933"/>
                  <a:gd name="connsiteX17" fmla="*/ 329184 w 329184"/>
                  <a:gd name="connsiteY17" fmla="*/ 0 h 276933"/>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67927 w 329184"/>
                  <a:gd name="connsiteY4" fmla="*/ 141079 h 276933"/>
                  <a:gd name="connsiteX5" fmla="*/ 114954 w 329184"/>
                  <a:gd name="connsiteY5" fmla="*/ 209006 h 276933"/>
                  <a:gd name="connsiteX6" fmla="*/ 130629 w 329184"/>
                  <a:gd name="connsiteY6" fmla="*/ 224681 h 276933"/>
                  <a:gd name="connsiteX7" fmla="*/ 146304 w 329184"/>
                  <a:gd name="connsiteY7" fmla="*/ 240357 h 276933"/>
                  <a:gd name="connsiteX8" fmla="*/ 161980 w 329184"/>
                  <a:gd name="connsiteY8" fmla="*/ 245582 h 276933"/>
                  <a:gd name="connsiteX9" fmla="*/ 182880 w 329184"/>
                  <a:gd name="connsiteY9" fmla="*/ 261257 h 276933"/>
                  <a:gd name="connsiteX10" fmla="*/ 198556 w 329184"/>
                  <a:gd name="connsiteY10" fmla="*/ 266482 h 276933"/>
                  <a:gd name="connsiteX11" fmla="*/ 214231 w 329184"/>
                  <a:gd name="connsiteY11" fmla="*/ 276933 h 276933"/>
                  <a:gd name="connsiteX12" fmla="*/ 251665 w 329184"/>
                  <a:gd name="connsiteY12" fmla="*/ 225539 h 276933"/>
                  <a:gd name="connsiteX13" fmla="*/ 282703 w 329184"/>
                  <a:gd name="connsiteY13" fmla="*/ 134370 h 276933"/>
                  <a:gd name="connsiteX14" fmla="*/ 298378 w 329184"/>
                  <a:gd name="connsiteY14" fmla="*/ 89684 h 276933"/>
                  <a:gd name="connsiteX15" fmla="*/ 309999 w 329184"/>
                  <a:gd name="connsiteY15" fmla="*/ 56307 h 276933"/>
                  <a:gd name="connsiteX16" fmla="*/ 329184 w 329184"/>
                  <a:gd name="connsiteY16" fmla="*/ 0 h 276933"/>
                  <a:gd name="connsiteX0" fmla="*/ 0 w 329184"/>
                  <a:gd name="connsiteY0" fmla="*/ 67927 h 276933"/>
                  <a:gd name="connsiteX1" fmla="*/ 31351 w 329184"/>
                  <a:gd name="connsiteY1" fmla="*/ 78377 h 276933"/>
                  <a:gd name="connsiteX2" fmla="*/ 36576 w 329184"/>
                  <a:gd name="connsiteY2" fmla="*/ 94053 h 276933"/>
                  <a:gd name="connsiteX3" fmla="*/ 62702 w 329184"/>
                  <a:gd name="connsiteY3" fmla="*/ 125404 h 276933"/>
                  <a:gd name="connsiteX4" fmla="*/ 114954 w 329184"/>
                  <a:gd name="connsiteY4" fmla="*/ 209006 h 276933"/>
                  <a:gd name="connsiteX5" fmla="*/ 130629 w 329184"/>
                  <a:gd name="connsiteY5" fmla="*/ 224681 h 276933"/>
                  <a:gd name="connsiteX6" fmla="*/ 146304 w 329184"/>
                  <a:gd name="connsiteY6" fmla="*/ 240357 h 276933"/>
                  <a:gd name="connsiteX7" fmla="*/ 161980 w 329184"/>
                  <a:gd name="connsiteY7" fmla="*/ 245582 h 276933"/>
                  <a:gd name="connsiteX8" fmla="*/ 182880 w 329184"/>
                  <a:gd name="connsiteY8" fmla="*/ 261257 h 276933"/>
                  <a:gd name="connsiteX9" fmla="*/ 198556 w 329184"/>
                  <a:gd name="connsiteY9" fmla="*/ 266482 h 276933"/>
                  <a:gd name="connsiteX10" fmla="*/ 214231 w 329184"/>
                  <a:gd name="connsiteY10" fmla="*/ 276933 h 276933"/>
                  <a:gd name="connsiteX11" fmla="*/ 251665 w 329184"/>
                  <a:gd name="connsiteY11" fmla="*/ 225539 h 276933"/>
                  <a:gd name="connsiteX12" fmla="*/ 282703 w 329184"/>
                  <a:gd name="connsiteY12" fmla="*/ 134370 h 276933"/>
                  <a:gd name="connsiteX13" fmla="*/ 298378 w 329184"/>
                  <a:gd name="connsiteY13" fmla="*/ 89684 h 276933"/>
                  <a:gd name="connsiteX14" fmla="*/ 309999 w 329184"/>
                  <a:gd name="connsiteY14" fmla="*/ 56307 h 276933"/>
                  <a:gd name="connsiteX15" fmla="*/ 329184 w 329184"/>
                  <a:gd name="connsiteY15" fmla="*/ 0 h 276933"/>
                  <a:gd name="connsiteX0" fmla="*/ 0 w 329184"/>
                  <a:gd name="connsiteY0" fmla="*/ 67927 h 276933"/>
                  <a:gd name="connsiteX1" fmla="*/ 31351 w 329184"/>
                  <a:gd name="connsiteY1" fmla="*/ 78377 h 276933"/>
                  <a:gd name="connsiteX2" fmla="*/ 36576 w 329184"/>
                  <a:gd name="connsiteY2" fmla="*/ 94053 h 276933"/>
                  <a:gd name="connsiteX3" fmla="*/ 56228 w 329184"/>
                  <a:gd name="connsiteY3" fmla="*/ 100544 h 276933"/>
                  <a:gd name="connsiteX4" fmla="*/ 62702 w 329184"/>
                  <a:gd name="connsiteY4" fmla="*/ 125404 h 276933"/>
                  <a:gd name="connsiteX5" fmla="*/ 114954 w 329184"/>
                  <a:gd name="connsiteY5" fmla="*/ 209006 h 276933"/>
                  <a:gd name="connsiteX6" fmla="*/ 130629 w 329184"/>
                  <a:gd name="connsiteY6" fmla="*/ 224681 h 276933"/>
                  <a:gd name="connsiteX7" fmla="*/ 146304 w 329184"/>
                  <a:gd name="connsiteY7" fmla="*/ 240357 h 276933"/>
                  <a:gd name="connsiteX8" fmla="*/ 161980 w 329184"/>
                  <a:gd name="connsiteY8" fmla="*/ 245582 h 276933"/>
                  <a:gd name="connsiteX9" fmla="*/ 182880 w 329184"/>
                  <a:gd name="connsiteY9" fmla="*/ 261257 h 276933"/>
                  <a:gd name="connsiteX10" fmla="*/ 198556 w 329184"/>
                  <a:gd name="connsiteY10" fmla="*/ 266482 h 276933"/>
                  <a:gd name="connsiteX11" fmla="*/ 214231 w 329184"/>
                  <a:gd name="connsiteY11" fmla="*/ 276933 h 276933"/>
                  <a:gd name="connsiteX12" fmla="*/ 251665 w 329184"/>
                  <a:gd name="connsiteY12" fmla="*/ 225539 h 276933"/>
                  <a:gd name="connsiteX13" fmla="*/ 282703 w 329184"/>
                  <a:gd name="connsiteY13" fmla="*/ 134370 h 276933"/>
                  <a:gd name="connsiteX14" fmla="*/ 298378 w 329184"/>
                  <a:gd name="connsiteY14" fmla="*/ 89684 h 276933"/>
                  <a:gd name="connsiteX15" fmla="*/ 309999 w 329184"/>
                  <a:gd name="connsiteY15" fmla="*/ 56307 h 276933"/>
                  <a:gd name="connsiteX16" fmla="*/ 329184 w 329184"/>
                  <a:gd name="connsiteY16" fmla="*/ 0 h 276933"/>
                  <a:gd name="connsiteX0" fmla="*/ 0 w 329184"/>
                  <a:gd name="connsiteY0" fmla="*/ 67927 h 276933"/>
                  <a:gd name="connsiteX1" fmla="*/ 31351 w 329184"/>
                  <a:gd name="connsiteY1" fmla="*/ 78377 h 276933"/>
                  <a:gd name="connsiteX2" fmla="*/ 56228 w 329184"/>
                  <a:gd name="connsiteY2" fmla="*/ 100544 h 276933"/>
                  <a:gd name="connsiteX3" fmla="*/ 62702 w 329184"/>
                  <a:gd name="connsiteY3" fmla="*/ 125404 h 276933"/>
                  <a:gd name="connsiteX4" fmla="*/ 114954 w 329184"/>
                  <a:gd name="connsiteY4" fmla="*/ 209006 h 276933"/>
                  <a:gd name="connsiteX5" fmla="*/ 130629 w 329184"/>
                  <a:gd name="connsiteY5" fmla="*/ 224681 h 276933"/>
                  <a:gd name="connsiteX6" fmla="*/ 146304 w 329184"/>
                  <a:gd name="connsiteY6" fmla="*/ 240357 h 276933"/>
                  <a:gd name="connsiteX7" fmla="*/ 161980 w 329184"/>
                  <a:gd name="connsiteY7" fmla="*/ 245582 h 276933"/>
                  <a:gd name="connsiteX8" fmla="*/ 182880 w 329184"/>
                  <a:gd name="connsiteY8" fmla="*/ 261257 h 276933"/>
                  <a:gd name="connsiteX9" fmla="*/ 198556 w 329184"/>
                  <a:gd name="connsiteY9" fmla="*/ 266482 h 276933"/>
                  <a:gd name="connsiteX10" fmla="*/ 214231 w 329184"/>
                  <a:gd name="connsiteY10" fmla="*/ 276933 h 276933"/>
                  <a:gd name="connsiteX11" fmla="*/ 251665 w 329184"/>
                  <a:gd name="connsiteY11" fmla="*/ 225539 h 276933"/>
                  <a:gd name="connsiteX12" fmla="*/ 282703 w 329184"/>
                  <a:gd name="connsiteY12" fmla="*/ 134370 h 276933"/>
                  <a:gd name="connsiteX13" fmla="*/ 298378 w 329184"/>
                  <a:gd name="connsiteY13" fmla="*/ 89684 h 276933"/>
                  <a:gd name="connsiteX14" fmla="*/ 309999 w 329184"/>
                  <a:gd name="connsiteY14" fmla="*/ 56307 h 276933"/>
                  <a:gd name="connsiteX15" fmla="*/ 329184 w 329184"/>
                  <a:gd name="connsiteY15" fmla="*/ 0 h 276933"/>
                  <a:gd name="connsiteX0" fmla="*/ 0 w 329184"/>
                  <a:gd name="connsiteY0" fmla="*/ 67927 h 276933"/>
                  <a:gd name="connsiteX1" fmla="*/ 31351 w 329184"/>
                  <a:gd name="connsiteY1" fmla="*/ 78377 h 276933"/>
                  <a:gd name="connsiteX2" fmla="*/ 56228 w 329184"/>
                  <a:gd name="connsiteY2" fmla="*/ 100544 h 276933"/>
                  <a:gd name="connsiteX3" fmla="*/ 114954 w 329184"/>
                  <a:gd name="connsiteY3" fmla="*/ 209006 h 276933"/>
                  <a:gd name="connsiteX4" fmla="*/ 130629 w 329184"/>
                  <a:gd name="connsiteY4" fmla="*/ 224681 h 276933"/>
                  <a:gd name="connsiteX5" fmla="*/ 146304 w 329184"/>
                  <a:gd name="connsiteY5" fmla="*/ 240357 h 276933"/>
                  <a:gd name="connsiteX6" fmla="*/ 161980 w 329184"/>
                  <a:gd name="connsiteY6" fmla="*/ 245582 h 276933"/>
                  <a:gd name="connsiteX7" fmla="*/ 182880 w 329184"/>
                  <a:gd name="connsiteY7" fmla="*/ 261257 h 276933"/>
                  <a:gd name="connsiteX8" fmla="*/ 198556 w 329184"/>
                  <a:gd name="connsiteY8" fmla="*/ 266482 h 276933"/>
                  <a:gd name="connsiteX9" fmla="*/ 214231 w 329184"/>
                  <a:gd name="connsiteY9" fmla="*/ 276933 h 276933"/>
                  <a:gd name="connsiteX10" fmla="*/ 251665 w 329184"/>
                  <a:gd name="connsiteY10" fmla="*/ 225539 h 276933"/>
                  <a:gd name="connsiteX11" fmla="*/ 282703 w 329184"/>
                  <a:gd name="connsiteY11" fmla="*/ 134370 h 276933"/>
                  <a:gd name="connsiteX12" fmla="*/ 298378 w 329184"/>
                  <a:gd name="connsiteY12" fmla="*/ 89684 h 276933"/>
                  <a:gd name="connsiteX13" fmla="*/ 309999 w 329184"/>
                  <a:gd name="connsiteY13" fmla="*/ 56307 h 276933"/>
                  <a:gd name="connsiteX14" fmla="*/ 329184 w 329184"/>
                  <a:gd name="connsiteY14" fmla="*/ 0 h 276933"/>
                  <a:gd name="connsiteX0" fmla="*/ 0 w 329184"/>
                  <a:gd name="connsiteY0" fmla="*/ 67927 h 276933"/>
                  <a:gd name="connsiteX1" fmla="*/ 31351 w 329184"/>
                  <a:gd name="connsiteY1" fmla="*/ 78377 h 276933"/>
                  <a:gd name="connsiteX2" fmla="*/ 114954 w 329184"/>
                  <a:gd name="connsiteY2" fmla="*/ 209006 h 276933"/>
                  <a:gd name="connsiteX3" fmla="*/ 130629 w 329184"/>
                  <a:gd name="connsiteY3" fmla="*/ 224681 h 276933"/>
                  <a:gd name="connsiteX4" fmla="*/ 146304 w 329184"/>
                  <a:gd name="connsiteY4" fmla="*/ 240357 h 276933"/>
                  <a:gd name="connsiteX5" fmla="*/ 161980 w 329184"/>
                  <a:gd name="connsiteY5" fmla="*/ 245582 h 276933"/>
                  <a:gd name="connsiteX6" fmla="*/ 182880 w 329184"/>
                  <a:gd name="connsiteY6" fmla="*/ 261257 h 276933"/>
                  <a:gd name="connsiteX7" fmla="*/ 198556 w 329184"/>
                  <a:gd name="connsiteY7" fmla="*/ 266482 h 276933"/>
                  <a:gd name="connsiteX8" fmla="*/ 214231 w 329184"/>
                  <a:gd name="connsiteY8" fmla="*/ 276933 h 276933"/>
                  <a:gd name="connsiteX9" fmla="*/ 251665 w 329184"/>
                  <a:gd name="connsiteY9" fmla="*/ 225539 h 276933"/>
                  <a:gd name="connsiteX10" fmla="*/ 282703 w 329184"/>
                  <a:gd name="connsiteY10" fmla="*/ 134370 h 276933"/>
                  <a:gd name="connsiteX11" fmla="*/ 298378 w 329184"/>
                  <a:gd name="connsiteY11" fmla="*/ 89684 h 276933"/>
                  <a:gd name="connsiteX12" fmla="*/ 309999 w 329184"/>
                  <a:gd name="connsiteY12" fmla="*/ 56307 h 276933"/>
                  <a:gd name="connsiteX13" fmla="*/ 329184 w 329184"/>
                  <a:gd name="connsiteY13" fmla="*/ 0 h 276933"/>
                  <a:gd name="connsiteX0" fmla="*/ 0 w 329184"/>
                  <a:gd name="connsiteY0" fmla="*/ 67927 h 276933"/>
                  <a:gd name="connsiteX1" fmla="*/ 114954 w 329184"/>
                  <a:gd name="connsiteY1" fmla="*/ 209006 h 276933"/>
                  <a:gd name="connsiteX2" fmla="*/ 130629 w 329184"/>
                  <a:gd name="connsiteY2" fmla="*/ 224681 h 276933"/>
                  <a:gd name="connsiteX3" fmla="*/ 146304 w 329184"/>
                  <a:gd name="connsiteY3" fmla="*/ 240357 h 276933"/>
                  <a:gd name="connsiteX4" fmla="*/ 161980 w 329184"/>
                  <a:gd name="connsiteY4" fmla="*/ 245582 h 276933"/>
                  <a:gd name="connsiteX5" fmla="*/ 182880 w 329184"/>
                  <a:gd name="connsiteY5" fmla="*/ 261257 h 276933"/>
                  <a:gd name="connsiteX6" fmla="*/ 198556 w 329184"/>
                  <a:gd name="connsiteY6" fmla="*/ 266482 h 276933"/>
                  <a:gd name="connsiteX7" fmla="*/ 214231 w 329184"/>
                  <a:gd name="connsiteY7" fmla="*/ 276933 h 276933"/>
                  <a:gd name="connsiteX8" fmla="*/ 251665 w 329184"/>
                  <a:gd name="connsiteY8" fmla="*/ 225539 h 276933"/>
                  <a:gd name="connsiteX9" fmla="*/ 282703 w 329184"/>
                  <a:gd name="connsiteY9" fmla="*/ 134370 h 276933"/>
                  <a:gd name="connsiteX10" fmla="*/ 298378 w 329184"/>
                  <a:gd name="connsiteY10" fmla="*/ 89684 h 276933"/>
                  <a:gd name="connsiteX11" fmla="*/ 309999 w 329184"/>
                  <a:gd name="connsiteY11" fmla="*/ 56307 h 276933"/>
                  <a:gd name="connsiteX12" fmla="*/ 329184 w 329184"/>
                  <a:gd name="connsiteY12" fmla="*/ 0 h 276933"/>
                  <a:gd name="connsiteX0" fmla="*/ 0 w 329184"/>
                  <a:gd name="connsiteY0" fmla="*/ 67927 h 276933"/>
                  <a:gd name="connsiteX1" fmla="*/ 130629 w 329184"/>
                  <a:gd name="connsiteY1" fmla="*/ 224681 h 276933"/>
                  <a:gd name="connsiteX2" fmla="*/ 146304 w 329184"/>
                  <a:gd name="connsiteY2" fmla="*/ 240357 h 276933"/>
                  <a:gd name="connsiteX3" fmla="*/ 161980 w 329184"/>
                  <a:gd name="connsiteY3" fmla="*/ 245582 h 276933"/>
                  <a:gd name="connsiteX4" fmla="*/ 182880 w 329184"/>
                  <a:gd name="connsiteY4" fmla="*/ 261257 h 276933"/>
                  <a:gd name="connsiteX5" fmla="*/ 198556 w 329184"/>
                  <a:gd name="connsiteY5" fmla="*/ 266482 h 276933"/>
                  <a:gd name="connsiteX6" fmla="*/ 214231 w 329184"/>
                  <a:gd name="connsiteY6" fmla="*/ 276933 h 276933"/>
                  <a:gd name="connsiteX7" fmla="*/ 251665 w 329184"/>
                  <a:gd name="connsiteY7" fmla="*/ 225539 h 276933"/>
                  <a:gd name="connsiteX8" fmla="*/ 282703 w 329184"/>
                  <a:gd name="connsiteY8" fmla="*/ 134370 h 276933"/>
                  <a:gd name="connsiteX9" fmla="*/ 298378 w 329184"/>
                  <a:gd name="connsiteY9" fmla="*/ 89684 h 276933"/>
                  <a:gd name="connsiteX10" fmla="*/ 309999 w 329184"/>
                  <a:gd name="connsiteY10" fmla="*/ 56307 h 276933"/>
                  <a:gd name="connsiteX11" fmla="*/ 329184 w 329184"/>
                  <a:gd name="connsiteY11" fmla="*/ 0 h 276933"/>
                  <a:gd name="connsiteX0" fmla="*/ 0 w 329184"/>
                  <a:gd name="connsiteY0" fmla="*/ 67927 h 276933"/>
                  <a:gd name="connsiteX1" fmla="*/ 130629 w 329184"/>
                  <a:gd name="connsiteY1" fmla="*/ 224681 h 276933"/>
                  <a:gd name="connsiteX2" fmla="*/ 146304 w 329184"/>
                  <a:gd name="connsiteY2" fmla="*/ 240357 h 276933"/>
                  <a:gd name="connsiteX3" fmla="*/ 182880 w 329184"/>
                  <a:gd name="connsiteY3" fmla="*/ 261257 h 276933"/>
                  <a:gd name="connsiteX4" fmla="*/ 198556 w 329184"/>
                  <a:gd name="connsiteY4" fmla="*/ 266482 h 276933"/>
                  <a:gd name="connsiteX5" fmla="*/ 214231 w 329184"/>
                  <a:gd name="connsiteY5" fmla="*/ 276933 h 276933"/>
                  <a:gd name="connsiteX6" fmla="*/ 251665 w 329184"/>
                  <a:gd name="connsiteY6" fmla="*/ 225539 h 276933"/>
                  <a:gd name="connsiteX7" fmla="*/ 282703 w 329184"/>
                  <a:gd name="connsiteY7" fmla="*/ 134370 h 276933"/>
                  <a:gd name="connsiteX8" fmla="*/ 298378 w 329184"/>
                  <a:gd name="connsiteY8" fmla="*/ 89684 h 276933"/>
                  <a:gd name="connsiteX9" fmla="*/ 309999 w 329184"/>
                  <a:gd name="connsiteY9" fmla="*/ 56307 h 276933"/>
                  <a:gd name="connsiteX10" fmla="*/ 329184 w 329184"/>
                  <a:gd name="connsiteY10" fmla="*/ 0 h 276933"/>
                  <a:gd name="connsiteX0" fmla="*/ 0 w 329184"/>
                  <a:gd name="connsiteY0" fmla="*/ 67927 h 276933"/>
                  <a:gd name="connsiteX1" fmla="*/ 130629 w 329184"/>
                  <a:gd name="connsiteY1" fmla="*/ 224681 h 276933"/>
                  <a:gd name="connsiteX2" fmla="*/ 146304 w 329184"/>
                  <a:gd name="connsiteY2" fmla="*/ 240357 h 276933"/>
                  <a:gd name="connsiteX3" fmla="*/ 198556 w 329184"/>
                  <a:gd name="connsiteY3" fmla="*/ 266482 h 276933"/>
                  <a:gd name="connsiteX4" fmla="*/ 214231 w 329184"/>
                  <a:gd name="connsiteY4" fmla="*/ 276933 h 276933"/>
                  <a:gd name="connsiteX5" fmla="*/ 251665 w 329184"/>
                  <a:gd name="connsiteY5" fmla="*/ 225539 h 276933"/>
                  <a:gd name="connsiteX6" fmla="*/ 282703 w 329184"/>
                  <a:gd name="connsiteY6" fmla="*/ 134370 h 276933"/>
                  <a:gd name="connsiteX7" fmla="*/ 298378 w 329184"/>
                  <a:gd name="connsiteY7" fmla="*/ 89684 h 276933"/>
                  <a:gd name="connsiteX8" fmla="*/ 309999 w 329184"/>
                  <a:gd name="connsiteY8" fmla="*/ 56307 h 276933"/>
                  <a:gd name="connsiteX9" fmla="*/ 329184 w 329184"/>
                  <a:gd name="connsiteY9" fmla="*/ 0 h 276933"/>
                  <a:gd name="connsiteX0" fmla="*/ 0 w 329184"/>
                  <a:gd name="connsiteY0" fmla="*/ 67927 h 276933"/>
                  <a:gd name="connsiteX1" fmla="*/ 130629 w 329184"/>
                  <a:gd name="connsiteY1" fmla="*/ 224681 h 276933"/>
                  <a:gd name="connsiteX2" fmla="*/ 146304 w 329184"/>
                  <a:gd name="connsiteY2" fmla="*/ 240357 h 276933"/>
                  <a:gd name="connsiteX3" fmla="*/ 214231 w 329184"/>
                  <a:gd name="connsiteY3" fmla="*/ 276933 h 276933"/>
                  <a:gd name="connsiteX4" fmla="*/ 251665 w 329184"/>
                  <a:gd name="connsiteY4" fmla="*/ 225539 h 276933"/>
                  <a:gd name="connsiteX5" fmla="*/ 282703 w 329184"/>
                  <a:gd name="connsiteY5" fmla="*/ 134370 h 276933"/>
                  <a:gd name="connsiteX6" fmla="*/ 298378 w 329184"/>
                  <a:gd name="connsiteY6" fmla="*/ 89684 h 276933"/>
                  <a:gd name="connsiteX7" fmla="*/ 309999 w 329184"/>
                  <a:gd name="connsiteY7" fmla="*/ 56307 h 276933"/>
                  <a:gd name="connsiteX8" fmla="*/ 329184 w 329184"/>
                  <a:gd name="connsiteY8" fmla="*/ 0 h 276933"/>
                  <a:gd name="connsiteX0" fmla="*/ 0 w 329184"/>
                  <a:gd name="connsiteY0" fmla="*/ 67927 h 276933"/>
                  <a:gd name="connsiteX1" fmla="*/ 130629 w 329184"/>
                  <a:gd name="connsiteY1" fmla="*/ 224681 h 276933"/>
                  <a:gd name="connsiteX2" fmla="*/ 214231 w 329184"/>
                  <a:gd name="connsiteY2" fmla="*/ 276933 h 276933"/>
                  <a:gd name="connsiteX3" fmla="*/ 251665 w 329184"/>
                  <a:gd name="connsiteY3" fmla="*/ 225539 h 276933"/>
                  <a:gd name="connsiteX4" fmla="*/ 282703 w 329184"/>
                  <a:gd name="connsiteY4" fmla="*/ 134370 h 276933"/>
                  <a:gd name="connsiteX5" fmla="*/ 298378 w 329184"/>
                  <a:gd name="connsiteY5" fmla="*/ 89684 h 276933"/>
                  <a:gd name="connsiteX6" fmla="*/ 309999 w 329184"/>
                  <a:gd name="connsiteY6" fmla="*/ 56307 h 276933"/>
                  <a:gd name="connsiteX7" fmla="*/ 329184 w 329184"/>
                  <a:gd name="connsiteY7" fmla="*/ 0 h 276933"/>
                  <a:gd name="connsiteX0" fmla="*/ 0 w 329184"/>
                  <a:gd name="connsiteY0" fmla="*/ 67927 h 276933"/>
                  <a:gd name="connsiteX1" fmla="*/ 214231 w 329184"/>
                  <a:gd name="connsiteY1" fmla="*/ 276933 h 276933"/>
                  <a:gd name="connsiteX2" fmla="*/ 251665 w 329184"/>
                  <a:gd name="connsiteY2" fmla="*/ 225539 h 276933"/>
                  <a:gd name="connsiteX3" fmla="*/ 282703 w 329184"/>
                  <a:gd name="connsiteY3" fmla="*/ 134370 h 276933"/>
                  <a:gd name="connsiteX4" fmla="*/ 298378 w 329184"/>
                  <a:gd name="connsiteY4" fmla="*/ 89684 h 276933"/>
                  <a:gd name="connsiteX5" fmla="*/ 309999 w 329184"/>
                  <a:gd name="connsiteY5" fmla="*/ 56307 h 276933"/>
                  <a:gd name="connsiteX6" fmla="*/ 329184 w 329184"/>
                  <a:gd name="connsiteY6" fmla="*/ 0 h 276933"/>
                  <a:gd name="connsiteX0" fmla="*/ 0 w 329184"/>
                  <a:gd name="connsiteY0" fmla="*/ 67927 h 276933"/>
                  <a:gd name="connsiteX1" fmla="*/ 214231 w 329184"/>
                  <a:gd name="connsiteY1" fmla="*/ 276933 h 276933"/>
                  <a:gd name="connsiteX2" fmla="*/ 251665 w 329184"/>
                  <a:gd name="connsiteY2" fmla="*/ 225539 h 276933"/>
                  <a:gd name="connsiteX3" fmla="*/ 282703 w 329184"/>
                  <a:gd name="connsiteY3" fmla="*/ 134370 h 276933"/>
                  <a:gd name="connsiteX4" fmla="*/ 298378 w 329184"/>
                  <a:gd name="connsiteY4" fmla="*/ 89684 h 276933"/>
                  <a:gd name="connsiteX5" fmla="*/ 329184 w 329184"/>
                  <a:gd name="connsiteY5" fmla="*/ 0 h 276933"/>
                  <a:gd name="connsiteX0" fmla="*/ 0 w 329184"/>
                  <a:gd name="connsiteY0" fmla="*/ 67927 h 276933"/>
                  <a:gd name="connsiteX1" fmla="*/ 214231 w 329184"/>
                  <a:gd name="connsiteY1" fmla="*/ 276933 h 276933"/>
                  <a:gd name="connsiteX2" fmla="*/ 251665 w 329184"/>
                  <a:gd name="connsiteY2" fmla="*/ 225539 h 276933"/>
                  <a:gd name="connsiteX3" fmla="*/ 298378 w 329184"/>
                  <a:gd name="connsiteY3" fmla="*/ 89684 h 276933"/>
                  <a:gd name="connsiteX4" fmla="*/ 329184 w 329184"/>
                  <a:gd name="connsiteY4" fmla="*/ 0 h 276933"/>
                  <a:gd name="connsiteX0" fmla="*/ 0 w 329184"/>
                  <a:gd name="connsiteY0" fmla="*/ 67927 h 276999"/>
                  <a:gd name="connsiteX1" fmla="*/ 214231 w 329184"/>
                  <a:gd name="connsiteY1" fmla="*/ 276933 h 276999"/>
                  <a:gd name="connsiteX2" fmla="*/ 298378 w 329184"/>
                  <a:gd name="connsiteY2" fmla="*/ 89684 h 276999"/>
                  <a:gd name="connsiteX3" fmla="*/ 329184 w 329184"/>
                  <a:gd name="connsiteY3" fmla="*/ 0 h 276999"/>
                  <a:gd name="connsiteX0" fmla="*/ 0 w 329184"/>
                  <a:gd name="connsiteY0" fmla="*/ 67927 h 276933"/>
                  <a:gd name="connsiteX1" fmla="*/ 214231 w 329184"/>
                  <a:gd name="connsiteY1" fmla="*/ 276933 h 276933"/>
                  <a:gd name="connsiteX2" fmla="*/ 329184 w 329184"/>
                  <a:gd name="connsiteY2" fmla="*/ 0 h 276933"/>
                  <a:gd name="connsiteX0" fmla="*/ 0 w 323662"/>
                  <a:gd name="connsiteY0" fmla="*/ 97883 h 306889"/>
                  <a:gd name="connsiteX1" fmla="*/ 214231 w 323662"/>
                  <a:gd name="connsiteY1" fmla="*/ 306889 h 306889"/>
                  <a:gd name="connsiteX2" fmla="*/ 323662 w 323662"/>
                  <a:gd name="connsiteY2" fmla="*/ 0 h 306889"/>
                </a:gdLst>
                <a:ahLst/>
                <a:cxnLst>
                  <a:cxn ang="0">
                    <a:pos x="connsiteX0" y="connsiteY0"/>
                  </a:cxn>
                  <a:cxn ang="0">
                    <a:pos x="connsiteX1" y="connsiteY1"/>
                  </a:cxn>
                  <a:cxn ang="0">
                    <a:pos x="connsiteX2" y="connsiteY2"/>
                  </a:cxn>
                </a:cxnLst>
                <a:rect l="l" t="t" r="r" b="b"/>
                <a:pathLst>
                  <a:path w="323662" h="306889">
                    <a:moveTo>
                      <a:pt x="0" y="97883"/>
                    </a:moveTo>
                    <a:lnTo>
                      <a:pt x="214231" y="306889"/>
                    </a:lnTo>
                    <a:cubicBezTo>
                      <a:pt x="269095" y="295568"/>
                      <a:pt x="299714" y="57694"/>
                      <a:pt x="323662" y="0"/>
                    </a:cubicBezTo>
                  </a:path>
                </a:pathLst>
              </a:custGeom>
              <a:noFill/>
              <a:ln w="19050" cap="rnd">
                <a:solidFill>
                  <a:schemeClr val="tx1">
                    <a:lumMod val="85000"/>
                    <a:lumOff val="1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200">
                  <a:solidFill>
                    <a:schemeClr val="lt1"/>
                  </a:solidFill>
                </a:endParaRPr>
              </a:p>
            </p:txBody>
          </p:sp>
        </p:grpSp>
        <p:sp>
          <p:nvSpPr>
            <p:cNvPr id="7" name="Rectangle 6"/>
            <p:cNvSpPr/>
            <p:nvPr/>
          </p:nvSpPr>
          <p:spPr>
            <a:xfrm rot="21599113">
              <a:off x="5655753" y="1988393"/>
              <a:ext cx="1113968" cy="195381"/>
            </a:xfrm>
            <a:prstGeom prst="rect">
              <a:avLst/>
            </a:prstGeom>
          </p:spPr>
          <p:txBody>
            <a:bodyPr wrap="square" anchor="ctr">
              <a:spAutoFit/>
            </a:bodyPr>
            <a:lstStyle/>
            <a:p>
              <a:pPr marL="285750" indent="-285750">
                <a:lnSpc>
                  <a:spcPct val="150000"/>
                </a:lnSpc>
                <a:buClr>
                  <a:srgbClr val="FF6600"/>
                </a:buClr>
                <a:buFont typeface="Wingdings" panose="05000000000000000000" pitchFamily="2" charset="2"/>
                <a:buChar char="Ø"/>
              </a:pPr>
              <a:r>
                <a:rPr lang="en-US" sz="2000" dirty="0">
                  <a:latin typeface="Dosis"/>
                </a:rPr>
                <a:t>Reduce delay of </a:t>
              </a:r>
              <a:r>
                <a:rPr lang="en-US" sz="2000" dirty="0" smtClean="0">
                  <a:latin typeface="Dosis"/>
                </a:rPr>
                <a:t>tasks</a:t>
              </a:r>
              <a:r>
                <a:rPr lang="en-US" sz="2000" dirty="0">
                  <a:latin typeface="Dosis"/>
                </a:rPr>
                <a:t>.</a:t>
              </a:r>
            </a:p>
          </p:txBody>
        </p:sp>
        <p:grpSp>
          <p:nvGrpSpPr>
            <p:cNvPr id="8" name="Group 7"/>
            <p:cNvGrpSpPr/>
            <p:nvPr/>
          </p:nvGrpSpPr>
          <p:grpSpPr>
            <a:xfrm rot="21599113">
              <a:off x="6172260" y="1576712"/>
              <a:ext cx="184785" cy="186690"/>
              <a:chOff x="4917745" y="2235200"/>
              <a:chExt cx="2584952" cy="2489199"/>
            </a:xfrm>
            <a:effectLst>
              <a:outerShdw blurRad="50800" dist="25400" dir="8100000" algn="tr" rotWithShape="0">
                <a:prstClr val="black">
                  <a:alpha val="45000"/>
                </a:prstClr>
              </a:outerShdw>
            </a:effectLst>
          </p:grpSpPr>
          <p:sp>
            <p:nvSpPr>
              <p:cNvPr id="12" name="Oval 11"/>
              <p:cNvSpPr/>
              <p:nvPr/>
            </p:nvSpPr>
            <p:spPr>
              <a:xfrm>
                <a:off x="4917745" y="2429067"/>
                <a:ext cx="2295331" cy="2295332"/>
              </a:xfrm>
              <a:prstGeom prst="ellipse">
                <a:avLst/>
              </a:prstGeom>
              <a:solidFill>
                <a:schemeClr val="accent6">
                  <a:lumMod val="75000"/>
                </a:schemeClr>
              </a:solidFill>
              <a:ln>
                <a:noFill/>
              </a:ln>
              <a:effectLst/>
              <a:scene3d>
                <a:camera prst="orthographicFront">
                  <a:rot lat="0" lon="0" rev="0"/>
                </a:camera>
                <a:lightRig rig="contrasting" dir="t">
                  <a:rot lat="0" lon="0" rev="1500000"/>
                </a:lightRig>
              </a:scene3d>
              <a:sp3d>
                <a:bevelT w="44450" h="6985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p>
            </p:txBody>
          </p:sp>
          <p:sp>
            <p:nvSpPr>
              <p:cNvPr id="13" name="Oval 12"/>
              <p:cNvSpPr/>
              <p:nvPr/>
            </p:nvSpPr>
            <p:spPr>
              <a:xfrm>
                <a:off x="5484130" y="2913213"/>
                <a:ext cx="1253454" cy="1253453"/>
              </a:xfrm>
              <a:prstGeom prst="ellipse">
                <a:avLst/>
              </a:prstGeom>
              <a:solidFill>
                <a:schemeClr val="accent6">
                  <a:lumMod val="50000"/>
                </a:schemeClr>
              </a:solidFill>
              <a:ln>
                <a:noFill/>
              </a:ln>
              <a:effectLst/>
              <a:scene3d>
                <a:camera prst="orthographicFront">
                  <a:rot lat="0" lon="0" rev="0"/>
                </a:camera>
                <a:lightRig rig="contrasting" dir="t">
                  <a:rot lat="0" lon="0" rev="1500000"/>
                </a:lightRig>
              </a:scene3d>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p>
            </p:txBody>
          </p:sp>
          <p:sp>
            <p:nvSpPr>
              <p:cNvPr id="14" name="Oval 13"/>
              <p:cNvSpPr/>
              <p:nvPr/>
            </p:nvSpPr>
            <p:spPr>
              <a:xfrm>
                <a:off x="5972471" y="2235200"/>
                <a:ext cx="1530226" cy="1530226"/>
              </a:xfrm>
              <a:prstGeom prst="ellipse">
                <a:avLst/>
              </a:prstGeom>
              <a:solidFill>
                <a:schemeClr val="accent6">
                  <a:lumMod val="75000"/>
                </a:schemeClr>
              </a:solidFill>
              <a:ln>
                <a:noFill/>
              </a:ln>
              <a:effectLst/>
              <a:scene3d>
                <a:camera prst="orthographicFront">
                  <a:rot lat="0" lon="0" rev="0"/>
                </a:camera>
                <a:lightRig rig="contrasting" dir="t">
                  <a:rot lat="0" lon="0" rev="1500000"/>
                </a:lightRig>
              </a:scene3d>
              <a:sp3d>
                <a:bevelT w="31750" h="69850"/>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p>
            </p:txBody>
          </p:sp>
        </p:grpSp>
        <p:sp>
          <p:nvSpPr>
            <p:cNvPr id="9" name="Rectangle 8"/>
            <p:cNvSpPr/>
            <p:nvPr/>
          </p:nvSpPr>
          <p:spPr>
            <a:xfrm rot="21599113">
              <a:off x="5655776" y="2160006"/>
              <a:ext cx="1692113" cy="358198"/>
            </a:xfrm>
            <a:prstGeom prst="rect">
              <a:avLst/>
            </a:prstGeom>
          </p:spPr>
          <p:txBody>
            <a:bodyPr wrap="square" anchor="ctr">
              <a:spAutoFit/>
            </a:bodyPr>
            <a:lstStyle/>
            <a:p>
              <a:pPr marL="342900" indent="-342900">
                <a:buClr>
                  <a:srgbClr val="FF6600"/>
                </a:buClr>
                <a:buFont typeface="Wingdings" pitchFamily="2" charset="2"/>
                <a:buChar char="Ø"/>
              </a:pPr>
              <a:r>
                <a:rPr lang="en-US" sz="2000" dirty="0" smtClean="0">
                  <a:latin typeface="Dosis"/>
                </a:rPr>
                <a:t>Easy to </a:t>
              </a:r>
              <a:r>
                <a:rPr lang="en-US" sz="2000" dirty="0">
                  <a:latin typeface="Dosis"/>
                </a:rPr>
                <a:t>find standard d</a:t>
              </a:r>
              <a:r>
                <a:rPr lang="en-US" sz="2000" dirty="0" smtClean="0">
                  <a:latin typeface="Dosis"/>
                </a:rPr>
                <a:t>ocuments </a:t>
              </a:r>
              <a:r>
                <a:rPr lang="en-US" sz="2000" dirty="0">
                  <a:latin typeface="Dosis"/>
                </a:rPr>
                <a:t>of organization. </a:t>
              </a:r>
            </a:p>
            <a:p>
              <a:endParaRPr lang="en-US" sz="2000" dirty="0">
                <a:solidFill>
                  <a:schemeClr val="tx1">
                    <a:lumMod val="95000"/>
                    <a:lumOff val="5000"/>
                  </a:schemeClr>
                </a:solidFill>
                <a:latin typeface="Comic Sans MS" pitchFamily="66" charset="0"/>
              </a:endParaRPr>
            </a:p>
          </p:txBody>
        </p:sp>
        <p:sp>
          <p:nvSpPr>
            <p:cNvPr id="10" name="Rectangle 9"/>
            <p:cNvSpPr/>
            <p:nvPr/>
          </p:nvSpPr>
          <p:spPr>
            <a:xfrm rot="21599113">
              <a:off x="5628009" y="2464218"/>
              <a:ext cx="1856532" cy="338094"/>
            </a:xfrm>
            <a:prstGeom prst="rect">
              <a:avLst/>
            </a:prstGeom>
          </p:spPr>
          <p:txBody>
            <a:bodyPr wrap="square" anchor="ctr">
              <a:spAutoFit/>
            </a:bodyPr>
            <a:lstStyle/>
            <a:p>
              <a:pPr marL="285750" indent="-285750">
                <a:lnSpc>
                  <a:spcPct val="150000"/>
                </a:lnSpc>
                <a:buClr>
                  <a:srgbClr val="FF6600"/>
                </a:buClr>
                <a:buFont typeface="Wingdings" panose="05000000000000000000" pitchFamily="2" charset="2"/>
                <a:buChar char="Ø"/>
              </a:pPr>
              <a:r>
                <a:rPr lang="en-US" sz="2000" dirty="0">
                  <a:latin typeface="Dosis"/>
                </a:rPr>
                <a:t>Transfer knowledge  of employees from </a:t>
              </a:r>
              <a:r>
                <a:rPr lang="en-US" sz="2000" dirty="0" smtClean="0">
                  <a:latin typeface="Dosis"/>
                </a:rPr>
                <a:t>tacit </a:t>
              </a:r>
              <a:r>
                <a:rPr lang="en-US" sz="2000" dirty="0">
                  <a:latin typeface="Dosis"/>
                </a:rPr>
                <a:t>knowledge to </a:t>
              </a:r>
              <a:r>
                <a:rPr lang="en-US" sz="2000" dirty="0" smtClean="0">
                  <a:latin typeface="Dosis"/>
                </a:rPr>
                <a:t>explicit </a:t>
              </a:r>
              <a:r>
                <a:rPr lang="en-US" sz="2000" dirty="0">
                  <a:latin typeface="Dosis"/>
                </a:rPr>
                <a:t>knowledge.</a:t>
              </a:r>
            </a:p>
          </p:txBody>
        </p:sp>
      </p:grpSp>
    </p:spTree>
    <p:extLst>
      <p:ext uri="{BB962C8B-B14F-4D97-AF65-F5344CB8AC3E}">
        <p14:creationId xmlns:p14="http://schemas.microsoft.com/office/powerpoint/2010/main" val="3092000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sp>
        <p:nvSpPr>
          <p:cNvPr id="304" name="Shape 304"/>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t>19</a:t>
            </a:fld>
            <a:endParaRPr/>
          </a:p>
        </p:txBody>
      </p:sp>
      <p:sp>
        <p:nvSpPr>
          <p:cNvPr id="305" name="Shape 305"/>
          <p:cNvSpPr txBox="1">
            <a:spLocks noGrp="1"/>
          </p:cNvSpPr>
          <p:nvPr>
            <p:ph type="ctrTitle" idx="4294967295"/>
          </p:nvPr>
        </p:nvSpPr>
        <p:spPr>
          <a:xfrm>
            <a:off x="1033300" y="1583350"/>
            <a:ext cx="6672600" cy="1159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6000" dirty="0" smtClean="0">
                <a:solidFill>
                  <a:srgbClr val="FF8700"/>
                </a:solidFill>
              </a:rPr>
              <a:t>THANK You!</a:t>
            </a:r>
            <a:endParaRPr sz="6000" dirty="0">
              <a:solidFill>
                <a:srgbClr val="FF8700"/>
              </a:solidFill>
            </a:endParaRPr>
          </a:p>
        </p:txBody>
      </p:sp>
    </p:spTree>
    <p:extLst>
      <p:ext uri="{BB962C8B-B14F-4D97-AF65-F5344CB8AC3E}">
        <p14:creationId xmlns:p14="http://schemas.microsoft.com/office/powerpoint/2010/main" val="37379434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idx="12"/>
          </p:nvPr>
        </p:nvSpPr>
        <p:spPr/>
        <p:txBody>
          <a:bodyPr/>
          <a:lstStyle/>
          <a:p>
            <a:pPr marL="0" lvl="0" indent="0">
              <a:spcBef>
                <a:spcPts val="0"/>
              </a:spcBef>
              <a:spcAft>
                <a:spcPts val="0"/>
              </a:spcAft>
              <a:buNone/>
            </a:pPr>
            <a:fld id="{00000000-1234-1234-1234-123412341234}" type="slidenum">
              <a:rPr lang="en" smtClean="0"/>
              <a:t>2</a:t>
            </a:fld>
            <a:endParaRPr lang="en"/>
          </a:p>
        </p:txBody>
      </p:sp>
      <p:sp>
        <p:nvSpPr>
          <p:cNvPr id="5" name="Title 1"/>
          <p:cNvSpPr txBox="1">
            <a:spLocks/>
          </p:cNvSpPr>
          <p:nvPr/>
        </p:nvSpPr>
        <p:spPr>
          <a:xfrm>
            <a:off x="1099209" y="133350"/>
            <a:ext cx="6553200" cy="457200"/>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smtClean="0">
                <a:solidFill>
                  <a:srgbClr val="FF6600"/>
                </a:solidFill>
                <a:latin typeface="Dosis"/>
                <a:cs typeface="Arial" panose="020B0604020202020204" pitchFamily="34" charset="0"/>
              </a:rPr>
              <a:t>Agenda</a:t>
            </a:r>
            <a:endParaRPr lang="en-US" sz="2400" b="1" dirty="0">
              <a:solidFill>
                <a:srgbClr val="FF6600"/>
              </a:solidFill>
              <a:latin typeface="Dosis"/>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125324866"/>
              </p:ext>
            </p:extLst>
          </p:nvPr>
        </p:nvGraphicFramePr>
        <p:xfrm>
          <a:off x="1295400" y="727778"/>
          <a:ext cx="4876800" cy="3498289"/>
        </p:xfrm>
        <a:graphic>
          <a:graphicData uri="http://schemas.openxmlformats.org/drawingml/2006/table">
            <a:tbl>
              <a:tblPr firstRow="1" bandRow="1">
                <a:tableStyleId>{0E3FDE45-AF77-4B5C-9715-49D594BDF05E}</a:tableStyleId>
              </a:tblPr>
              <a:tblGrid>
                <a:gridCol w="3810000">
                  <a:extLst>
                    <a:ext uri="{9D8B030D-6E8A-4147-A177-3AD203B41FA5}">
                      <a16:colId xmlns="" xmlns:a16="http://schemas.microsoft.com/office/drawing/2014/main" val="20000"/>
                    </a:ext>
                  </a:extLst>
                </a:gridCol>
                <a:gridCol w="1066800">
                  <a:extLst>
                    <a:ext uri="{9D8B030D-6E8A-4147-A177-3AD203B41FA5}">
                      <a16:colId xmlns="" xmlns:a16="http://schemas.microsoft.com/office/drawing/2014/main" val="20001"/>
                    </a:ext>
                  </a:extLst>
                </a:gridCol>
              </a:tblGrid>
              <a:tr h="325866">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smtClean="0"/>
                        <a:t>Title</a:t>
                      </a:r>
                      <a:endParaRPr lang="en-US" sz="1600" b="1" dirty="0" smtClean="0">
                        <a:solidFill>
                          <a:schemeClr val="bg1"/>
                        </a:solidFill>
                        <a:latin typeface="Roboto"/>
                        <a:ea typeface="Tahoma" panose="020B0604030504040204" pitchFamily="34" charset="0"/>
                        <a:cs typeface="Arial" panose="020B0604020202020204" pitchFamily="34" charset="0"/>
                      </a:endParaRPr>
                    </a:p>
                  </a:txBody>
                  <a:tcPr/>
                </a:tc>
                <a:tc>
                  <a:txBody>
                    <a:bodyPr/>
                    <a:lstStyle/>
                    <a:p>
                      <a:r>
                        <a:rPr lang="en-US" sz="1600" dirty="0" smtClean="0"/>
                        <a:t>Page No</a:t>
                      </a:r>
                      <a:endParaRPr lang="en-US" sz="1600" b="1" dirty="0">
                        <a:solidFill>
                          <a:schemeClr val="bg1"/>
                        </a:solidFill>
                      </a:endParaRPr>
                    </a:p>
                  </a:txBody>
                  <a:tcPr/>
                </a:tc>
                <a:extLst>
                  <a:ext uri="{0D108BD9-81ED-4DB2-BD59-A6C34878D82A}">
                    <a16:rowId xmlns="" xmlns:a16="http://schemas.microsoft.com/office/drawing/2014/main" val="10000"/>
                  </a:ext>
                </a:extLst>
              </a:tr>
              <a:tr h="380368">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smtClean="0"/>
                        <a:t>Background of My Action Plan   </a:t>
                      </a:r>
                      <a:endParaRPr lang="en-US" sz="1600" dirty="0" smtClean="0">
                        <a:latin typeface="Roboto"/>
                        <a:ea typeface="Tahoma" panose="020B0604030504040204" pitchFamily="34" charset="0"/>
                        <a:cs typeface="Arial" panose="020B0604020202020204" pitchFamily="34" charset="0"/>
                      </a:endParaRPr>
                    </a:p>
                  </a:txBody>
                  <a:tcPr/>
                </a:tc>
                <a:tc>
                  <a:txBody>
                    <a:bodyPr/>
                    <a:lstStyle/>
                    <a:p>
                      <a:r>
                        <a:rPr lang="en-US" sz="1600" dirty="0" smtClean="0"/>
                        <a:t>3-5</a:t>
                      </a:r>
                      <a:endParaRPr lang="en-US" sz="1600" dirty="0">
                        <a:latin typeface="Roboto"/>
                      </a:endParaRPr>
                    </a:p>
                  </a:txBody>
                  <a:tcPr/>
                </a:tc>
                <a:extLst>
                  <a:ext uri="{0D108BD9-81ED-4DB2-BD59-A6C34878D82A}">
                    <a16:rowId xmlns="" xmlns:a16="http://schemas.microsoft.com/office/drawing/2014/main" val="10001"/>
                  </a:ext>
                </a:extLst>
              </a:tr>
              <a:tr h="360237">
                <a:tc>
                  <a:txBody>
                    <a:bodyPr/>
                    <a:lstStyle/>
                    <a:p>
                      <a:pPr algn="l"/>
                      <a:r>
                        <a:rPr lang="en-US" sz="1600" dirty="0" smtClean="0"/>
                        <a:t>Problems </a:t>
                      </a:r>
                      <a:endParaRPr lang="en-US" sz="1600" dirty="0"/>
                    </a:p>
                  </a:txBody>
                  <a:tcPr/>
                </a:tc>
                <a:tc>
                  <a:txBody>
                    <a:bodyPr/>
                    <a:lstStyle/>
                    <a:p>
                      <a:r>
                        <a:rPr lang="en-US" sz="1600" dirty="0" smtClean="0"/>
                        <a:t>6-7</a:t>
                      </a:r>
                      <a:endParaRPr lang="en-US" sz="1600" dirty="0">
                        <a:latin typeface="Roboto"/>
                      </a:endParaRPr>
                    </a:p>
                  </a:txBody>
                  <a:tcPr/>
                </a:tc>
                <a:extLst>
                  <a:ext uri="{0D108BD9-81ED-4DB2-BD59-A6C34878D82A}">
                    <a16:rowId xmlns="" xmlns:a16="http://schemas.microsoft.com/office/drawing/2014/main" val="10002"/>
                  </a:ext>
                </a:extLst>
              </a:tr>
              <a:tr h="325866">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smtClean="0"/>
                        <a:t>Solution</a:t>
                      </a:r>
                      <a:endParaRPr lang="en-US" sz="1600" dirty="0" smtClean="0">
                        <a:latin typeface="Roboto"/>
                        <a:ea typeface="Tahoma" panose="020B0604030504040204" pitchFamily="34" charset="0"/>
                        <a:cs typeface="Arial" panose="020B0604020202020204" pitchFamily="34" charset="0"/>
                      </a:endParaRPr>
                    </a:p>
                  </a:txBody>
                  <a:tcPr/>
                </a:tc>
                <a:tc>
                  <a:txBody>
                    <a:bodyPr/>
                    <a:lstStyle/>
                    <a:p>
                      <a:r>
                        <a:rPr lang="en-US" sz="1600" dirty="0" smtClean="0"/>
                        <a:t>8-9</a:t>
                      </a:r>
                      <a:endParaRPr lang="en-US" sz="1600" dirty="0">
                        <a:latin typeface="Roboto"/>
                      </a:endParaRPr>
                    </a:p>
                  </a:txBody>
                  <a:tcPr/>
                </a:tc>
                <a:extLst>
                  <a:ext uri="{0D108BD9-81ED-4DB2-BD59-A6C34878D82A}">
                    <a16:rowId xmlns="" xmlns:a16="http://schemas.microsoft.com/office/drawing/2014/main" val="10003"/>
                  </a:ext>
                </a:extLst>
              </a:tr>
              <a:tr h="325866">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smtClean="0"/>
                        <a:t>Effect of Action Plan</a:t>
                      </a:r>
                      <a:endParaRPr lang="en-US" sz="1600" dirty="0" smtClean="0">
                        <a:latin typeface="Roboto"/>
                        <a:ea typeface="Tahoma" panose="020B0604030504040204" pitchFamily="34" charset="0"/>
                        <a:cs typeface="Arial" panose="020B0604020202020204" pitchFamily="34" charset="0"/>
                      </a:endParaRPr>
                    </a:p>
                  </a:txBody>
                  <a:tcPr/>
                </a:tc>
                <a:tc>
                  <a:txBody>
                    <a:bodyPr/>
                    <a:lstStyle/>
                    <a:p>
                      <a:r>
                        <a:rPr lang="en-US" sz="1600" dirty="0" smtClean="0"/>
                        <a:t>10-11</a:t>
                      </a:r>
                      <a:endParaRPr lang="en-US" sz="1600" dirty="0">
                        <a:latin typeface="Roboto"/>
                      </a:endParaRPr>
                    </a:p>
                  </a:txBody>
                  <a:tcPr/>
                </a:tc>
                <a:extLst>
                  <a:ext uri="{0D108BD9-81ED-4DB2-BD59-A6C34878D82A}">
                    <a16:rowId xmlns="" xmlns:a16="http://schemas.microsoft.com/office/drawing/2014/main" val="10004"/>
                  </a:ext>
                </a:extLst>
              </a:tr>
              <a:tr h="360428">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smtClean="0"/>
                        <a:t>Implementation Schedule</a:t>
                      </a:r>
                      <a:endParaRPr lang="en-US" sz="1600" dirty="0" smtClean="0">
                        <a:latin typeface="Roboto"/>
                        <a:ea typeface="Tahoma" panose="020B0604030504040204" pitchFamily="34" charset="0"/>
                        <a:cs typeface="Arial" panose="020B0604020202020204" pitchFamily="34" charset="0"/>
                      </a:endParaRPr>
                    </a:p>
                  </a:txBody>
                  <a:tcPr/>
                </a:tc>
                <a:tc>
                  <a:txBody>
                    <a:bodyPr/>
                    <a:lstStyle/>
                    <a:p>
                      <a:r>
                        <a:rPr lang="en-US" sz="1600" dirty="0" smtClean="0"/>
                        <a:t>12-13</a:t>
                      </a:r>
                      <a:endParaRPr lang="en-US" sz="1600" dirty="0">
                        <a:latin typeface="Roboto"/>
                      </a:endParaRPr>
                    </a:p>
                  </a:txBody>
                  <a:tcPr/>
                </a:tc>
                <a:extLst>
                  <a:ext uri="{0D108BD9-81ED-4DB2-BD59-A6C34878D82A}">
                    <a16:rowId xmlns="" xmlns:a16="http://schemas.microsoft.com/office/drawing/2014/main" val="10005"/>
                  </a:ext>
                </a:extLst>
              </a:tr>
              <a:tr h="360428">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smtClean="0"/>
                        <a:t>Project Team Structure  </a:t>
                      </a:r>
                      <a:endParaRPr lang="en-US" sz="1600" dirty="0" smtClean="0">
                        <a:latin typeface="Roboto"/>
                        <a:ea typeface="Tahoma" panose="020B0604030504040204" pitchFamily="34" charset="0"/>
                        <a:cs typeface="Arial" panose="020B0604020202020204" pitchFamily="34" charset="0"/>
                      </a:endParaRPr>
                    </a:p>
                  </a:txBody>
                  <a:tcPr/>
                </a:tc>
                <a:tc>
                  <a:txBody>
                    <a:bodyPr/>
                    <a:lstStyle/>
                    <a:p>
                      <a:r>
                        <a:rPr lang="en-US" sz="1600" dirty="0" smtClean="0"/>
                        <a:t>14</a:t>
                      </a:r>
                      <a:endParaRPr lang="en-US" sz="1600" dirty="0">
                        <a:latin typeface="Roboto"/>
                      </a:endParaRPr>
                    </a:p>
                  </a:txBody>
                  <a:tcPr/>
                </a:tc>
                <a:extLst>
                  <a:ext uri="{0D108BD9-81ED-4DB2-BD59-A6C34878D82A}">
                    <a16:rowId xmlns="" xmlns:a16="http://schemas.microsoft.com/office/drawing/2014/main" val="10006"/>
                  </a:ext>
                </a:extLst>
              </a:tr>
              <a:tr h="360428">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smtClean="0"/>
                        <a:t>Cost for Action Plan </a:t>
                      </a:r>
                      <a:endParaRPr lang="en-US" sz="1600" dirty="0" smtClean="0">
                        <a:latin typeface="Roboto"/>
                        <a:ea typeface="Tahoma" panose="020B0604030504040204" pitchFamily="34" charset="0"/>
                        <a:cs typeface="Arial" panose="020B0604020202020204" pitchFamily="34" charset="0"/>
                      </a:endParaRPr>
                    </a:p>
                  </a:txBody>
                  <a:tcPr/>
                </a:tc>
                <a:tc>
                  <a:txBody>
                    <a:bodyPr/>
                    <a:lstStyle/>
                    <a:p>
                      <a:r>
                        <a:rPr lang="en-US" sz="1600" dirty="0" smtClean="0"/>
                        <a:t>15-16</a:t>
                      </a:r>
                      <a:endParaRPr lang="en-US" sz="1600" dirty="0">
                        <a:latin typeface="Roboto"/>
                      </a:endParaRPr>
                    </a:p>
                  </a:txBody>
                  <a:tcPr/>
                </a:tc>
                <a:extLst>
                  <a:ext uri="{0D108BD9-81ED-4DB2-BD59-A6C34878D82A}">
                    <a16:rowId xmlns="" xmlns:a16="http://schemas.microsoft.com/office/drawing/2014/main" val="10007"/>
                  </a:ext>
                </a:extLst>
              </a:tr>
              <a:tr h="325866">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smtClean="0"/>
                        <a:t>Risks for Action Plan</a:t>
                      </a:r>
                      <a:endParaRPr lang="en-US" sz="1600" dirty="0" smtClean="0">
                        <a:latin typeface="Roboto"/>
                        <a:ea typeface="Tahoma" panose="020B0604030504040204" pitchFamily="34" charset="0"/>
                        <a:cs typeface="Arial" panose="020B0604020202020204" pitchFamily="34" charset="0"/>
                      </a:endParaRPr>
                    </a:p>
                  </a:txBody>
                  <a:tcPr/>
                </a:tc>
                <a:tc>
                  <a:txBody>
                    <a:bodyPr/>
                    <a:lstStyle/>
                    <a:p>
                      <a:r>
                        <a:rPr lang="en-US" sz="1600" dirty="0" smtClean="0"/>
                        <a:t>17</a:t>
                      </a:r>
                      <a:endParaRPr lang="en-US" sz="1600" dirty="0">
                        <a:latin typeface="Roboto"/>
                      </a:endParaRPr>
                    </a:p>
                  </a:txBody>
                  <a:tcPr/>
                </a:tc>
                <a:extLst>
                  <a:ext uri="{0D108BD9-81ED-4DB2-BD59-A6C34878D82A}">
                    <a16:rowId xmlns="" xmlns:a16="http://schemas.microsoft.com/office/drawing/2014/main" val="10008"/>
                  </a:ext>
                </a:extLst>
              </a:tr>
              <a:tr h="325866">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dirty="0" smtClean="0"/>
                        <a:t>Conclusion</a:t>
                      </a:r>
                      <a:endParaRPr lang="en-US" sz="1600" dirty="0" smtClean="0">
                        <a:latin typeface="Roboto"/>
                        <a:ea typeface="Tahoma" panose="020B0604030504040204" pitchFamily="34" charset="0"/>
                        <a:cs typeface="Arial" panose="020B0604020202020204" pitchFamily="34" charset="0"/>
                      </a:endParaRPr>
                    </a:p>
                  </a:txBody>
                  <a:tcPr/>
                </a:tc>
                <a:tc>
                  <a:txBody>
                    <a:bodyPr/>
                    <a:lstStyle/>
                    <a:p>
                      <a:r>
                        <a:rPr lang="en-US" sz="1600" dirty="0" smtClean="0"/>
                        <a:t>18</a:t>
                      </a:r>
                      <a:endParaRPr lang="en-US" sz="1600" dirty="0">
                        <a:latin typeface="Roboto"/>
                      </a:endParaRPr>
                    </a:p>
                  </a:txBody>
                  <a:tcPr/>
                </a:tc>
                <a:extLst>
                  <a:ext uri="{0D108BD9-81ED-4DB2-BD59-A6C34878D82A}">
                    <a16:rowId xmlns="" xmlns:a16="http://schemas.microsoft.com/office/drawing/2014/main" val="10009"/>
                  </a:ext>
                </a:extLst>
              </a:tr>
            </a:tbl>
          </a:graphicData>
        </a:graphic>
      </p:graphicFrame>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7919" y="1096173"/>
            <a:ext cx="361093" cy="357914"/>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5490" y="1454086"/>
            <a:ext cx="350096" cy="350096"/>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5487" y="1811413"/>
            <a:ext cx="288689" cy="288689"/>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59913" y="2142863"/>
            <a:ext cx="342900" cy="342900"/>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4575103" y="2861517"/>
            <a:ext cx="335690" cy="335690"/>
          </a:xfrm>
          <a:prstGeom prst="rect">
            <a:avLst/>
          </a:prstGeom>
        </p:spPr>
      </p:pic>
      <p:grpSp>
        <p:nvGrpSpPr>
          <p:cNvPr id="17" name="Shape 641"/>
          <p:cNvGrpSpPr/>
          <p:nvPr/>
        </p:nvGrpSpPr>
        <p:grpSpPr>
          <a:xfrm>
            <a:off x="4557023" y="2467640"/>
            <a:ext cx="332670" cy="332670"/>
            <a:chOff x="6649150" y="309350"/>
            <a:chExt cx="395800" cy="395800"/>
          </a:xfrm>
          <a:solidFill>
            <a:srgbClr val="00B0F0"/>
          </a:solidFill>
        </p:grpSpPr>
        <p:sp>
          <p:nvSpPr>
            <p:cNvPr id="18" name="Shape 642"/>
            <p:cNvSpPr/>
            <p:nvPr/>
          </p:nvSpPr>
          <p:spPr>
            <a:xfrm>
              <a:off x="6649150" y="309350"/>
              <a:ext cx="395800" cy="395800"/>
            </a:xfrm>
            <a:custGeom>
              <a:avLst/>
              <a:gdLst/>
              <a:ahLst/>
              <a:cxnLst/>
              <a:rect l="0" t="0" r="0" b="0"/>
              <a:pathLst>
                <a:path w="15832" h="15832" fill="none" extrusionOk="0">
                  <a:moveTo>
                    <a:pt x="7916" y="1"/>
                  </a:moveTo>
                  <a:lnTo>
                    <a:pt x="7916" y="1"/>
                  </a:lnTo>
                  <a:lnTo>
                    <a:pt x="7502" y="25"/>
                  </a:lnTo>
                  <a:lnTo>
                    <a:pt x="7112" y="49"/>
                  </a:lnTo>
                  <a:lnTo>
                    <a:pt x="6723" y="98"/>
                  </a:lnTo>
                  <a:lnTo>
                    <a:pt x="6333" y="171"/>
                  </a:lnTo>
                  <a:lnTo>
                    <a:pt x="5943" y="244"/>
                  </a:lnTo>
                  <a:lnTo>
                    <a:pt x="5553" y="366"/>
                  </a:lnTo>
                  <a:lnTo>
                    <a:pt x="5188" y="488"/>
                  </a:lnTo>
                  <a:lnTo>
                    <a:pt x="4847" y="634"/>
                  </a:lnTo>
                  <a:lnTo>
                    <a:pt x="4482" y="780"/>
                  </a:lnTo>
                  <a:lnTo>
                    <a:pt x="4141" y="950"/>
                  </a:lnTo>
                  <a:lnTo>
                    <a:pt x="3824" y="1145"/>
                  </a:lnTo>
                  <a:lnTo>
                    <a:pt x="3483" y="1364"/>
                  </a:lnTo>
                  <a:lnTo>
                    <a:pt x="3191" y="1584"/>
                  </a:lnTo>
                  <a:lnTo>
                    <a:pt x="2874" y="1803"/>
                  </a:lnTo>
                  <a:lnTo>
                    <a:pt x="2607" y="2071"/>
                  </a:lnTo>
                  <a:lnTo>
                    <a:pt x="2314" y="2314"/>
                  </a:lnTo>
                  <a:lnTo>
                    <a:pt x="2071" y="2607"/>
                  </a:lnTo>
                  <a:lnTo>
                    <a:pt x="1803" y="2874"/>
                  </a:lnTo>
                  <a:lnTo>
                    <a:pt x="1584" y="3191"/>
                  </a:lnTo>
                  <a:lnTo>
                    <a:pt x="1364" y="3483"/>
                  </a:lnTo>
                  <a:lnTo>
                    <a:pt x="1145" y="3824"/>
                  </a:lnTo>
                  <a:lnTo>
                    <a:pt x="950" y="4141"/>
                  </a:lnTo>
                  <a:lnTo>
                    <a:pt x="780" y="4482"/>
                  </a:lnTo>
                  <a:lnTo>
                    <a:pt x="634" y="4847"/>
                  </a:lnTo>
                  <a:lnTo>
                    <a:pt x="488" y="5188"/>
                  </a:lnTo>
                  <a:lnTo>
                    <a:pt x="366" y="5553"/>
                  </a:lnTo>
                  <a:lnTo>
                    <a:pt x="244" y="5943"/>
                  </a:lnTo>
                  <a:lnTo>
                    <a:pt x="171" y="6333"/>
                  </a:lnTo>
                  <a:lnTo>
                    <a:pt x="98" y="6722"/>
                  </a:lnTo>
                  <a:lnTo>
                    <a:pt x="49" y="7112"/>
                  </a:lnTo>
                  <a:lnTo>
                    <a:pt x="25" y="7502"/>
                  </a:lnTo>
                  <a:lnTo>
                    <a:pt x="1" y="7916"/>
                  </a:lnTo>
                  <a:lnTo>
                    <a:pt x="1" y="7916"/>
                  </a:lnTo>
                  <a:lnTo>
                    <a:pt x="25" y="8330"/>
                  </a:lnTo>
                  <a:lnTo>
                    <a:pt x="49" y="8720"/>
                  </a:lnTo>
                  <a:lnTo>
                    <a:pt x="98" y="9109"/>
                  </a:lnTo>
                  <a:lnTo>
                    <a:pt x="171" y="9499"/>
                  </a:lnTo>
                  <a:lnTo>
                    <a:pt x="244" y="9889"/>
                  </a:lnTo>
                  <a:lnTo>
                    <a:pt x="366" y="10278"/>
                  </a:lnTo>
                  <a:lnTo>
                    <a:pt x="488" y="10644"/>
                  </a:lnTo>
                  <a:lnTo>
                    <a:pt x="634" y="10985"/>
                  </a:lnTo>
                  <a:lnTo>
                    <a:pt x="780" y="11350"/>
                  </a:lnTo>
                  <a:lnTo>
                    <a:pt x="950" y="11691"/>
                  </a:lnTo>
                  <a:lnTo>
                    <a:pt x="1145" y="12008"/>
                  </a:lnTo>
                  <a:lnTo>
                    <a:pt x="1364" y="12348"/>
                  </a:lnTo>
                  <a:lnTo>
                    <a:pt x="1584" y="12641"/>
                  </a:lnTo>
                  <a:lnTo>
                    <a:pt x="1803" y="12957"/>
                  </a:lnTo>
                  <a:lnTo>
                    <a:pt x="2071" y="13225"/>
                  </a:lnTo>
                  <a:lnTo>
                    <a:pt x="2314" y="13518"/>
                  </a:lnTo>
                  <a:lnTo>
                    <a:pt x="2607" y="13761"/>
                  </a:lnTo>
                  <a:lnTo>
                    <a:pt x="2874" y="14029"/>
                  </a:lnTo>
                  <a:lnTo>
                    <a:pt x="3191" y="14248"/>
                  </a:lnTo>
                  <a:lnTo>
                    <a:pt x="3483" y="14467"/>
                  </a:lnTo>
                  <a:lnTo>
                    <a:pt x="3824" y="14687"/>
                  </a:lnTo>
                  <a:lnTo>
                    <a:pt x="4141" y="14881"/>
                  </a:lnTo>
                  <a:lnTo>
                    <a:pt x="4482" y="15052"/>
                  </a:lnTo>
                  <a:lnTo>
                    <a:pt x="4847" y="15198"/>
                  </a:lnTo>
                  <a:lnTo>
                    <a:pt x="5188" y="15344"/>
                  </a:lnTo>
                  <a:lnTo>
                    <a:pt x="5553" y="15466"/>
                  </a:lnTo>
                  <a:lnTo>
                    <a:pt x="5943" y="15588"/>
                  </a:lnTo>
                  <a:lnTo>
                    <a:pt x="6333" y="15661"/>
                  </a:lnTo>
                  <a:lnTo>
                    <a:pt x="6723" y="15734"/>
                  </a:lnTo>
                  <a:lnTo>
                    <a:pt x="7112" y="15783"/>
                  </a:lnTo>
                  <a:lnTo>
                    <a:pt x="7502" y="15807"/>
                  </a:lnTo>
                  <a:lnTo>
                    <a:pt x="7916" y="15831"/>
                  </a:lnTo>
                  <a:lnTo>
                    <a:pt x="7916" y="15831"/>
                  </a:lnTo>
                  <a:lnTo>
                    <a:pt x="8330" y="15807"/>
                  </a:lnTo>
                  <a:lnTo>
                    <a:pt x="8720" y="15783"/>
                  </a:lnTo>
                  <a:lnTo>
                    <a:pt x="9109" y="15734"/>
                  </a:lnTo>
                  <a:lnTo>
                    <a:pt x="9499" y="15661"/>
                  </a:lnTo>
                  <a:lnTo>
                    <a:pt x="9889" y="15588"/>
                  </a:lnTo>
                  <a:lnTo>
                    <a:pt x="10278" y="15466"/>
                  </a:lnTo>
                  <a:lnTo>
                    <a:pt x="10644" y="15344"/>
                  </a:lnTo>
                  <a:lnTo>
                    <a:pt x="10985" y="15198"/>
                  </a:lnTo>
                  <a:lnTo>
                    <a:pt x="11350" y="15052"/>
                  </a:lnTo>
                  <a:lnTo>
                    <a:pt x="11691" y="14881"/>
                  </a:lnTo>
                  <a:lnTo>
                    <a:pt x="12008" y="14687"/>
                  </a:lnTo>
                  <a:lnTo>
                    <a:pt x="12349" y="14467"/>
                  </a:lnTo>
                  <a:lnTo>
                    <a:pt x="12641" y="14248"/>
                  </a:lnTo>
                  <a:lnTo>
                    <a:pt x="12957" y="14029"/>
                  </a:lnTo>
                  <a:lnTo>
                    <a:pt x="13225" y="13761"/>
                  </a:lnTo>
                  <a:lnTo>
                    <a:pt x="13518" y="13518"/>
                  </a:lnTo>
                  <a:lnTo>
                    <a:pt x="13761" y="13225"/>
                  </a:lnTo>
                  <a:lnTo>
                    <a:pt x="14029" y="12957"/>
                  </a:lnTo>
                  <a:lnTo>
                    <a:pt x="14248" y="12641"/>
                  </a:lnTo>
                  <a:lnTo>
                    <a:pt x="14467" y="12348"/>
                  </a:lnTo>
                  <a:lnTo>
                    <a:pt x="14687" y="12008"/>
                  </a:lnTo>
                  <a:lnTo>
                    <a:pt x="14881" y="11691"/>
                  </a:lnTo>
                  <a:lnTo>
                    <a:pt x="15052" y="11350"/>
                  </a:lnTo>
                  <a:lnTo>
                    <a:pt x="15198" y="10985"/>
                  </a:lnTo>
                  <a:lnTo>
                    <a:pt x="15344" y="10644"/>
                  </a:lnTo>
                  <a:lnTo>
                    <a:pt x="15466" y="10278"/>
                  </a:lnTo>
                  <a:lnTo>
                    <a:pt x="15588" y="9889"/>
                  </a:lnTo>
                  <a:lnTo>
                    <a:pt x="15661" y="9499"/>
                  </a:lnTo>
                  <a:lnTo>
                    <a:pt x="15734" y="9109"/>
                  </a:lnTo>
                  <a:lnTo>
                    <a:pt x="15783" y="8720"/>
                  </a:lnTo>
                  <a:lnTo>
                    <a:pt x="15807" y="8330"/>
                  </a:lnTo>
                  <a:lnTo>
                    <a:pt x="15831" y="7916"/>
                  </a:lnTo>
                  <a:lnTo>
                    <a:pt x="15831" y="7916"/>
                  </a:lnTo>
                  <a:lnTo>
                    <a:pt x="15807" y="7502"/>
                  </a:lnTo>
                  <a:lnTo>
                    <a:pt x="15783" y="7112"/>
                  </a:lnTo>
                  <a:lnTo>
                    <a:pt x="15734" y="6722"/>
                  </a:lnTo>
                  <a:lnTo>
                    <a:pt x="15661" y="6333"/>
                  </a:lnTo>
                  <a:lnTo>
                    <a:pt x="15588" y="5943"/>
                  </a:lnTo>
                  <a:lnTo>
                    <a:pt x="15466" y="5553"/>
                  </a:lnTo>
                  <a:lnTo>
                    <a:pt x="15344" y="5188"/>
                  </a:lnTo>
                  <a:lnTo>
                    <a:pt x="15198" y="4847"/>
                  </a:lnTo>
                  <a:lnTo>
                    <a:pt x="15052" y="4482"/>
                  </a:lnTo>
                  <a:lnTo>
                    <a:pt x="14881" y="4141"/>
                  </a:lnTo>
                  <a:lnTo>
                    <a:pt x="14687" y="3824"/>
                  </a:lnTo>
                  <a:lnTo>
                    <a:pt x="14467" y="3483"/>
                  </a:lnTo>
                  <a:lnTo>
                    <a:pt x="14248" y="3191"/>
                  </a:lnTo>
                  <a:lnTo>
                    <a:pt x="14029" y="2874"/>
                  </a:lnTo>
                  <a:lnTo>
                    <a:pt x="13761" y="2607"/>
                  </a:lnTo>
                  <a:lnTo>
                    <a:pt x="13518" y="2314"/>
                  </a:lnTo>
                  <a:lnTo>
                    <a:pt x="13225" y="2071"/>
                  </a:lnTo>
                  <a:lnTo>
                    <a:pt x="12957" y="1803"/>
                  </a:lnTo>
                  <a:lnTo>
                    <a:pt x="12641" y="1584"/>
                  </a:lnTo>
                  <a:lnTo>
                    <a:pt x="12349" y="1364"/>
                  </a:lnTo>
                  <a:lnTo>
                    <a:pt x="12008" y="1145"/>
                  </a:lnTo>
                  <a:lnTo>
                    <a:pt x="11691" y="950"/>
                  </a:lnTo>
                  <a:lnTo>
                    <a:pt x="11350" y="780"/>
                  </a:lnTo>
                  <a:lnTo>
                    <a:pt x="10985" y="634"/>
                  </a:lnTo>
                  <a:lnTo>
                    <a:pt x="10644" y="488"/>
                  </a:lnTo>
                  <a:lnTo>
                    <a:pt x="10278" y="366"/>
                  </a:lnTo>
                  <a:lnTo>
                    <a:pt x="9889" y="244"/>
                  </a:lnTo>
                  <a:lnTo>
                    <a:pt x="9499" y="171"/>
                  </a:lnTo>
                  <a:lnTo>
                    <a:pt x="9109" y="98"/>
                  </a:lnTo>
                  <a:lnTo>
                    <a:pt x="8720" y="49"/>
                  </a:lnTo>
                  <a:lnTo>
                    <a:pt x="8330" y="25"/>
                  </a:lnTo>
                  <a:lnTo>
                    <a:pt x="7916" y="1"/>
                  </a:lnTo>
                  <a:lnTo>
                    <a:pt x="7916" y="1"/>
                  </a:lnTo>
                  <a:close/>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Shape 643"/>
            <p:cNvSpPr/>
            <p:nvPr/>
          </p:nvSpPr>
          <p:spPr>
            <a:xfrm>
              <a:off x="6673500" y="333700"/>
              <a:ext cx="347100" cy="347100"/>
            </a:xfrm>
            <a:custGeom>
              <a:avLst/>
              <a:gdLst/>
              <a:ahLst/>
              <a:cxnLst/>
              <a:rect l="0" t="0" r="0" b="0"/>
              <a:pathLst>
                <a:path w="13884" h="13884" fill="none" extrusionOk="0">
                  <a:moveTo>
                    <a:pt x="6942" y="13883"/>
                  </a:moveTo>
                  <a:lnTo>
                    <a:pt x="6942" y="13883"/>
                  </a:lnTo>
                  <a:lnTo>
                    <a:pt x="6577" y="13883"/>
                  </a:lnTo>
                  <a:lnTo>
                    <a:pt x="6236" y="13834"/>
                  </a:lnTo>
                  <a:lnTo>
                    <a:pt x="5895" y="13810"/>
                  </a:lnTo>
                  <a:lnTo>
                    <a:pt x="5554" y="13737"/>
                  </a:lnTo>
                  <a:lnTo>
                    <a:pt x="5213" y="13664"/>
                  </a:lnTo>
                  <a:lnTo>
                    <a:pt x="4872" y="13566"/>
                  </a:lnTo>
                  <a:lnTo>
                    <a:pt x="4555" y="13469"/>
                  </a:lnTo>
                  <a:lnTo>
                    <a:pt x="4239" y="13323"/>
                  </a:lnTo>
                  <a:lnTo>
                    <a:pt x="3946" y="13201"/>
                  </a:lnTo>
                  <a:lnTo>
                    <a:pt x="3630" y="13031"/>
                  </a:lnTo>
                  <a:lnTo>
                    <a:pt x="3337" y="12884"/>
                  </a:lnTo>
                  <a:lnTo>
                    <a:pt x="3069" y="12690"/>
                  </a:lnTo>
                  <a:lnTo>
                    <a:pt x="2802" y="12495"/>
                  </a:lnTo>
                  <a:lnTo>
                    <a:pt x="2534" y="12300"/>
                  </a:lnTo>
                  <a:lnTo>
                    <a:pt x="2290" y="12081"/>
                  </a:lnTo>
                  <a:lnTo>
                    <a:pt x="2047" y="11837"/>
                  </a:lnTo>
                  <a:lnTo>
                    <a:pt x="1803" y="11594"/>
                  </a:lnTo>
                  <a:lnTo>
                    <a:pt x="1584" y="11350"/>
                  </a:lnTo>
                  <a:lnTo>
                    <a:pt x="1389" y="11082"/>
                  </a:lnTo>
                  <a:lnTo>
                    <a:pt x="1194" y="10814"/>
                  </a:lnTo>
                  <a:lnTo>
                    <a:pt x="999" y="10546"/>
                  </a:lnTo>
                  <a:lnTo>
                    <a:pt x="853" y="10254"/>
                  </a:lnTo>
                  <a:lnTo>
                    <a:pt x="683" y="9938"/>
                  </a:lnTo>
                  <a:lnTo>
                    <a:pt x="561" y="9645"/>
                  </a:lnTo>
                  <a:lnTo>
                    <a:pt x="415" y="9329"/>
                  </a:lnTo>
                  <a:lnTo>
                    <a:pt x="317" y="9012"/>
                  </a:lnTo>
                  <a:lnTo>
                    <a:pt x="220" y="8671"/>
                  </a:lnTo>
                  <a:lnTo>
                    <a:pt x="147" y="8330"/>
                  </a:lnTo>
                  <a:lnTo>
                    <a:pt x="74" y="7989"/>
                  </a:lnTo>
                  <a:lnTo>
                    <a:pt x="49" y="7648"/>
                  </a:lnTo>
                  <a:lnTo>
                    <a:pt x="1" y="7307"/>
                  </a:lnTo>
                  <a:lnTo>
                    <a:pt x="1" y="6942"/>
                  </a:lnTo>
                  <a:lnTo>
                    <a:pt x="1" y="6942"/>
                  </a:lnTo>
                  <a:lnTo>
                    <a:pt x="1" y="6577"/>
                  </a:lnTo>
                  <a:lnTo>
                    <a:pt x="49" y="6236"/>
                  </a:lnTo>
                  <a:lnTo>
                    <a:pt x="74" y="5895"/>
                  </a:lnTo>
                  <a:lnTo>
                    <a:pt x="147" y="5554"/>
                  </a:lnTo>
                  <a:lnTo>
                    <a:pt x="220" y="5213"/>
                  </a:lnTo>
                  <a:lnTo>
                    <a:pt x="317" y="4872"/>
                  </a:lnTo>
                  <a:lnTo>
                    <a:pt x="415" y="4555"/>
                  </a:lnTo>
                  <a:lnTo>
                    <a:pt x="561" y="4238"/>
                  </a:lnTo>
                  <a:lnTo>
                    <a:pt x="683" y="3946"/>
                  </a:lnTo>
                  <a:lnTo>
                    <a:pt x="853" y="3630"/>
                  </a:lnTo>
                  <a:lnTo>
                    <a:pt x="999" y="3337"/>
                  </a:lnTo>
                  <a:lnTo>
                    <a:pt x="1194" y="3069"/>
                  </a:lnTo>
                  <a:lnTo>
                    <a:pt x="1389" y="2802"/>
                  </a:lnTo>
                  <a:lnTo>
                    <a:pt x="1584" y="2534"/>
                  </a:lnTo>
                  <a:lnTo>
                    <a:pt x="1803" y="2290"/>
                  </a:lnTo>
                  <a:lnTo>
                    <a:pt x="2047" y="2047"/>
                  </a:lnTo>
                  <a:lnTo>
                    <a:pt x="2290" y="1803"/>
                  </a:lnTo>
                  <a:lnTo>
                    <a:pt x="2534" y="1584"/>
                  </a:lnTo>
                  <a:lnTo>
                    <a:pt x="2802" y="1389"/>
                  </a:lnTo>
                  <a:lnTo>
                    <a:pt x="3069" y="1194"/>
                  </a:lnTo>
                  <a:lnTo>
                    <a:pt x="3337" y="999"/>
                  </a:lnTo>
                  <a:lnTo>
                    <a:pt x="3630" y="853"/>
                  </a:lnTo>
                  <a:lnTo>
                    <a:pt x="3946" y="683"/>
                  </a:lnTo>
                  <a:lnTo>
                    <a:pt x="4239" y="561"/>
                  </a:lnTo>
                  <a:lnTo>
                    <a:pt x="4555" y="415"/>
                  </a:lnTo>
                  <a:lnTo>
                    <a:pt x="4872" y="317"/>
                  </a:lnTo>
                  <a:lnTo>
                    <a:pt x="5213" y="220"/>
                  </a:lnTo>
                  <a:lnTo>
                    <a:pt x="5554" y="147"/>
                  </a:lnTo>
                  <a:lnTo>
                    <a:pt x="5895" y="74"/>
                  </a:lnTo>
                  <a:lnTo>
                    <a:pt x="6236" y="49"/>
                  </a:lnTo>
                  <a:lnTo>
                    <a:pt x="6577" y="1"/>
                  </a:lnTo>
                  <a:lnTo>
                    <a:pt x="6942" y="1"/>
                  </a:lnTo>
                  <a:lnTo>
                    <a:pt x="6942" y="1"/>
                  </a:lnTo>
                  <a:lnTo>
                    <a:pt x="7307" y="1"/>
                  </a:lnTo>
                  <a:lnTo>
                    <a:pt x="7648" y="49"/>
                  </a:lnTo>
                  <a:lnTo>
                    <a:pt x="7989" y="74"/>
                  </a:lnTo>
                  <a:lnTo>
                    <a:pt x="8330" y="147"/>
                  </a:lnTo>
                  <a:lnTo>
                    <a:pt x="8671" y="220"/>
                  </a:lnTo>
                  <a:lnTo>
                    <a:pt x="9012" y="317"/>
                  </a:lnTo>
                  <a:lnTo>
                    <a:pt x="9329" y="415"/>
                  </a:lnTo>
                  <a:lnTo>
                    <a:pt x="9645" y="561"/>
                  </a:lnTo>
                  <a:lnTo>
                    <a:pt x="9938" y="683"/>
                  </a:lnTo>
                  <a:lnTo>
                    <a:pt x="10254" y="853"/>
                  </a:lnTo>
                  <a:lnTo>
                    <a:pt x="10546" y="999"/>
                  </a:lnTo>
                  <a:lnTo>
                    <a:pt x="10814" y="1194"/>
                  </a:lnTo>
                  <a:lnTo>
                    <a:pt x="11082" y="1389"/>
                  </a:lnTo>
                  <a:lnTo>
                    <a:pt x="11350" y="1584"/>
                  </a:lnTo>
                  <a:lnTo>
                    <a:pt x="11594" y="1803"/>
                  </a:lnTo>
                  <a:lnTo>
                    <a:pt x="11837" y="2047"/>
                  </a:lnTo>
                  <a:lnTo>
                    <a:pt x="12081" y="2290"/>
                  </a:lnTo>
                  <a:lnTo>
                    <a:pt x="12300" y="2534"/>
                  </a:lnTo>
                  <a:lnTo>
                    <a:pt x="12495" y="2802"/>
                  </a:lnTo>
                  <a:lnTo>
                    <a:pt x="12690" y="3069"/>
                  </a:lnTo>
                  <a:lnTo>
                    <a:pt x="12885" y="3337"/>
                  </a:lnTo>
                  <a:lnTo>
                    <a:pt x="13031" y="3630"/>
                  </a:lnTo>
                  <a:lnTo>
                    <a:pt x="13201" y="3946"/>
                  </a:lnTo>
                  <a:lnTo>
                    <a:pt x="13323" y="4238"/>
                  </a:lnTo>
                  <a:lnTo>
                    <a:pt x="13469" y="4555"/>
                  </a:lnTo>
                  <a:lnTo>
                    <a:pt x="13566" y="4872"/>
                  </a:lnTo>
                  <a:lnTo>
                    <a:pt x="13664" y="5213"/>
                  </a:lnTo>
                  <a:lnTo>
                    <a:pt x="13737" y="5554"/>
                  </a:lnTo>
                  <a:lnTo>
                    <a:pt x="13810" y="5895"/>
                  </a:lnTo>
                  <a:lnTo>
                    <a:pt x="13834" y="6236"/>
                  </a:lnTo>
                  <a:lnTo>
                    <a:pt x="13883" y="6577"/>
                  </a:lnTo>
                  <a:lnTo>
                    <a:pt x="13883" y="6942"/>
                  </a:lnTo>
                  <a:lnTo>
                    <a:pt x="13883" y="6942"/>
                  </a:lnTo>
                  <a:lnTo>
                    <a:pt x="13883" y="7307"/>
                  </a:lnTo>
                  <a:lnTo>
                    <a:pt x="13834" y="7648"/>
                  </a:lnTo>
                  <a:lnTo>
                    <a:pt x="13810" y="7989"/>
                  </a:lnTo>
                  <a:lnTo>
                    <a:pt x="13737" y="8330"/>
                  </a:lnTo>
                  <a:lnTo>
                    <a:pt x="13664" y="8671"/>
                  </a:lnTo>
                  <a:lnTo>
                    <a:pt x="13566" y="9012"/>
                  </a:lnTo>
                  <a:lnTo>
                    <a:pt x="13469" y="9329"/>
                  </a:lnTo>
                  <a:lnTo>
                    <a:pt x="13323" y="9645"/>
                  </a:lnTo>
                  <a:lnTo>
                    <a:pt x="13201" y="9938"/>
                  </a:lnTo>
                  <a:lnTo>
                    <a:pt x="13031" y="10254"/>
                  </a:lnTo>
                  <a:lnTo>
                    <a:pt x="12885" y="10546"/>
                  </a:lnTo>
                  <a:lnTo>
                    <a:pt x="12690" y="10814"/>
                  </a:lnTo>
                  <a:lnTo>
                    <a:pt x="12495" y="11082"/>
                  </a:lnTo>
                  <a:lnTo>
                    <a:pt x="12300" y="11350"/>
                  </a:lnTo>
                  <a:lnTo>
                    <a:pt x="12081" y="11594"/>
                  </a:lnTo>
                  <a:lnTo>
                    <a:pt x="11837" y="11837"/>
                  </a:lnTo>
                  <a:lnTo>
                    <a:pt x="11594" y="12081"/>
                  </a:lnTo>
                  <a:lnTo>
                    <a:pt x="11350" y="12300"/>
                  </a:lnTo>
                  <a:lnTo>
                    <a:pt x="11082" y="12495"/>
                  </a:lnTo>
                  <a:lnTo>
                    <a:pt x="10814" y="12690"/>
                  </a:lnTo>
                  <a:lnTo>
                    <a:pt x="10546" y="12884"/>
                  </a:lnTo>
                  <a:lnTo>
                    <a:pt x="10254" y="13031"/>
                  </a:lnTo>
                  <a:lnTo>
                    <a:pt x="9938" y="13201"/>
                  </a:lnTo>
                  <a:lnTo>
                    <a:pt x="9645" y="13323"/>
                  </a:lnTo>
                  <a:lnTo>
                    <a:pt x="9329" y="13469"/>
                  </a:lnTo>
                  <a:lnTo>
                    <a:pt x="9012" y="13566"/>
                  </a:lnTo>
                  <a:lnTo>
                    <a:pt x="8671" y="13664"/>
                  </a:lnTo>
                  <a:lnTo>
                    <a:pt x="8330" y="13737"/>
                  </a:lnTo>
                  <a:lnTo>
                    <a:pt x="7989" y="13810"/>
                  </a:lnTo>
                  <a:lnTo>
                    <a:pt x="7648" y="13834"/>
                  </a:lnTo>
                  <a:lnTo>
                    <a:pt x="7307" y="13883"/>
                  </a:lnTo>
                  <a:lnTo>
                    <a:pt x="6942" y="13883"/>
                  </a:lnTo>
                  <a:lnTo>
                    <a:pt x="6942" y="13883"/>
                  </a:lnTo>
                  <a:close/>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 name="Shape 644"/>
            <p:cNvSpPr/>
            <p:nvPr/>
          </p:nvSpPr>
          <p:spPr>
            <a:xfrm>
              <a:off x="6848850" y="397625"/>
              <a:ext cx="54825" cy="169300"/>
            </a:xfrm>
            <a:custGeom>
              <a:avLst/>
              <a:gdLst/>
              <a:ahLst/>
              <a:cxnLst/>
              <a:rect l="0" t="0" r="0" b="0"/>
              <a:pathLst>
                <a:path w="2193" h="6772" fill="none" extrusionOk="0">
                  <a:moveTo>
                    <a:pt x="1" y="1"/>
                  </a:moveTo>
                  <a:lnTo>
                    <a:pt x="1" y="4580"/>
                  </a:lnTo>
                  <a:lnTo>
                    <a:pt x="2193" y="6772"/>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1" name="Shape 645"/>
            <p:cNvSpPr/>
            <p:nvPr/>
          </p:nvSpPr>
          <p:spPr>
            <a:xfrm>
              <a:off x="6847025" y="333700"/>
              <a:ext cx="25" cy="29250"/>
            </a:xfrm>
            <a:custGeom>
              <a:avLst/>
              <a:gdLst/>
              <a:ahLst/>
              <a:cxnLst/>
              <a:rect l="0" t="0" r="0" b="0"/>
              <a:pathLst>
                <a:path w="1" h="1170" fill="none" extrusionOk="0">
                  <a:moveTo>
                    <a:pt x="1" y="1170"/>
                  </a:moveTo>
                  <a:lnTo>
                    <a:pt x="1" y="1"/>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Shape 646"/>
            <p:cNvSpPr/>
            <p:nvPr/>
          </p:nvSpPr>
          <p:spPr>
            <a:xfrm>
              <a:off x="6760575" y="356850"/>
              <a:ext cx="25" cy="25"/>
            </a:xfrm>
            <a:custGeom>
              <a:avLst/>
              <a:gdLst/>
              <a:ahLst/>
              <a:cxnLst/>
              <a:rect l="0" t="0" r="0" b="0"/>
              <a:pathLst>
                <a:path w="1" h="1" fill="none" extrusionOk="0">
                  <a:moveTo>
                    <a:pt x="1" y="0"/>
                  </a:moveTo>
                  <a:lnTo>
                    <a:pt x="1"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Shape 647"/>
            <p:cNvSpPr/>
            <p:nvPr/>
          </p:nvSpPr>
          <p:spPr>
            <a:xfrm>
              <a:off x="6760575" y="356850"/>
              <a:ext cx="14025" cy="24975"/>
            </a:xfrm>
            <a:custGeom>
              <a:avLst/>
              <a:gdLst/>
              <a:ahLst/>
              <a:cxnLst/>
              <a:rect l="0" t="0" r="0" b="0"/>
              <a:pathLst>
                <a:path w="561" h="999" fill="none" extrusionOk="0">
                  <a:moveTo>
                    <a:pt x="1" y="0"/>
                  </a:moveTo>
                  <a:lnTo>
                    <a:pt x="561" y="999"/>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4" name="Shape 648"/>
            <p:cNvSpPr/>
            <p:nvPr/>
          </p:nvSpPr>
          <p:spPr>
            <a:xfrm>
              <a:off x="6696650" y="420775"/>
              <a:ext cx="25" cy="25"/>
            </a:xfrm>
            <a:custGeom>
              <a:avLst/>
              <a:gdLst/>
              <a:ahLst/>
              <a:cxnLst/>
              <a:rect l="0" t="0" r="0" b="0"/>
              <a:pathLst>
                <a:path w="1" h="1" fill="none" extrusionOk="0">
                  <a:moveTo>
                    <a:pt x="0" y="0"/>
                  </a:moveTo>
                  <a:lnTo>
                    <a:pt x="0"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5" name="Shape 649"/>
            <p:cNvSpPr/>
            <p:nvPr/>
          </p:nvSpPr>
          <p:spPr>
            <a:xfrm>
              <a:off x="6696650" y="420775"/>
              <a:ext cx="24975" cy="14025"/>
            </a:xfrm>
            <a:custGeom>
              <a:avLst/>
              <a:gdLst/>
              <a:ahLst/>
              <a:cxnLst/>
              <a:rect l="0" t="0" r="0" b="0"/>
              <a:pathLst>
                <a:path w="999" h="561" fill="none" extrusionOk="0">
                  <a:moveTo>
                    <a:pt x="0" y="0"/>
                  </a:moveTo>
                  <a:lnTo>
                    <a:pt x="999" y="561"/>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6" name="Shape 650"/>
            <p:cNvSpPr/>
            <p:nvPr/>
          </p:nvSpPr>
          <p:spPr>
            <a:xfrm>
              <a:off x="6673500" y="507225"/>
              <a:ext cx="29250" cy="25"/>
            </a:xfrm>
            <a:custGeom>
              <a:avLst/>
              <a:gdLst/>
              <a:ahLst/>
              <a:cxnLst/>
              <a:rect l="0" t="0" r="0" b="0"/>
              <a:pathLst>
                <a:path w="1170" h="1" fill="none" extrusionOk="0">
                  <a:moveTo>
                    <a:pt x="1" y="1"/>
                  </a:moveTo>
                  <a:lnTo>
                    <a:pt x="1170" y="1"/>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7" name="Shape 651"/>
            <p:cNvSpPr/>
            <p:nvPr/>
          </p:nvSpPr>
          <p:spPr>
            <a:xfrm>
              <a:off x="6696650" y="593700"/>
              <a:ext cx="25" cy="25"/>
            </a:xfrm>
            <a:custGeom>
              <a:avLst/>
              <a:gdLst/>
              <a:ahLst/>
              <a:cxnLst/>
              <a:rect l="0" t="0" r="0" b="0"/>
              <a:pathLst>
                <a:path w="1" h="1" fill="none" extrusionOk="0">
                  <a:moveTo>
                    <a:pt x="0" y="0"/>
                  </a:moveTo>
                  <a:lnTo>
                    <a:pt x="0"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8" name="Shape 652"/>
            <p:cNvSpPr/>
            <p:nvPr/>
          </p:nvSpPr>
          <p:spPr>
            <a:xfrm>
              <a:off x="6696650" y="579700"/>
              <a:ext cx="24975" cy="14025"/>
            </a:xfrm>
            <a:custGeom>
              <a:avLst/>
              <a:gdLst/>
              <a:ahLst/>
              <a:cxnLst/>
              <a:rect l="0" t="0" r="0" b="0"/>
              <a:pathLst>
                <a:path w="999" h="561" fill="none" extrusionOk="0">
                  <a:moveTo>
                    <a:pt x="0" y="560"/>
                  </a:moveTo>
                  <a:lnTo>
                    <a:pt x="999"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9" name="Shape 653"/>
            <p:cNvSpPr/>
            <p:nvPr/>
          </p:nvSpPr>
          <p:spPr>
            <a:xfrm>
              <a:off x="6760575" y="632675"/>
              <a:ext cx="14025" cy="24975"/>
            </a:xfrm>
            <a:custGeom>
              <a:avLst/>
              <a:gdLst/>
              <a:ahLst/>
              <a:cxnLst/>
              <a:rect l="0" t="0" r="0" b="0"/>
              <a:pathLst>
                <a:path w="561" h="999" fill="none" extrusionOk="0">
                  <a:moveTo>
                    <a:pt x="1" y="999"/>
                  </a:moveTo>
                  <a:lnTo>
                    <a:pt x="561"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0" name="Shape 654"/>
            <p:cNvSpPr/>
            <p:nvPr/>
          </p:nvSpPr>
          <p:spPr>
            <a:xfrm>
              <a:off x="6760575" y="657625"/>
              <a:ext cx="25" cy="25"/>
            </a:xfrm>
            <a:custGeom>
              <a:avLst/>
              <a:gdLst/>
              <a:ahLst/>
              <a:cxnLst/>
              <a:rect l="0" t="0" r="0" b="0"/>
              <a:pathLst>
                <a:path w="1" h="1" fill="none" extrusionOk="0">
                  <a:moveTo>
                    <a:pt x="1" y="1"/>
                  </a:moveTo>
                  <a:lnTo>
                    <a:pt x="1" y="1"/>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1" name="Shape 655"/>
            <p:cNvSpPr/>
            <p:nvPr/>
          </p:nvSpPr>
          <p:spPr>
            <a:xfrm>
              <a:off x="6847025" y="651550"/>
              <a:ext cx="25" cy="29250"/>
            </a:xfrm>
            <a:custGeom>
              <a:avLst/>
              <a:gdLst/>
              <a:ahLst/>
              <a:cxnLst/>
              <a:rect l="0" t="0" r="0" b="0"/>
              <a:pathLst>
                <a:path w="1" h="1170" fill="none" extrusionOk="0">
                  <a:moveTo>
                    <a:pt x="1" y="0"/>
                  </a:moveTo>
                  <a:lnTo>
                    <a:pt x="1" y="1169"/>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2" name="Shape 656"/>
            <p:cNvSpPr/>
            <p:nvPr/>
          </p:nvSpPr>
          <p:spPr>
            <a:xfrm>
              <a:off x="6919500" y="632675"/>
              <a:ext cx="14025" cy="24975"/>
            </a:xfrm>
            <a:custGeom>
              <a:avLst/>
              <a:gdLst/>
              <a:ahLst/>
              <a:cxnLst/>
              <a:rect l="0" t="0" r="0" b="0"/>
              <a:pathLst>
                <a:path w="561" h="999" fill="none" extrusionOk="0">
                  <a:moveTo>
                    <a:pt x="560" y="999"/>
                  </a:moveTo>
                  <a:lnTo>
                    <a:pt x="0"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3" name="Shape 657"/>
            <p:cNvSpPr/>
            <p:nvPr/>
          </p:nvSpPr>
          <p:spPr>
            <a:xfrm>
              <a:off x="6933500" y="657625"/>
              <a:ext cx="25" cy="25"/>
            </a:xfrm>
            <a:custGeom>
              <a:avLst/>
              <a:gdLst/>
              <a:ahLst/>
              <a:cxnLst/>
              <a:rect l="0" t="0" r="0" b="0"/>
              <a:pathLst>
                <a:path w="1" h="1" fill="none" extrusionOk="0">
                  <a:moveTo>
                    <a:pt x="0" y="1"/>
                  </a:moveTo>
                  <a:lnTo>
                    <a:pt x="0" y="1"/>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4" name="Shape 658"/>
            <p:cNvSpPr/>
            <p:nvPr/>
          </p:nvSpPr>
          <p:spPr>
            <a:xfrm>
              <a:off x="6972475" y="579700"/>
              <a:ext cx="24975" cy="14025"/>
            </a:xfrm>
            <a:custGeom>
              <a:avLst/>
              <a:gdLst/>
              <a:ahLst/>
              <a:cxnLst/>
              <a:rect l="0" t="0" r="0" b="0"/>
              <a:pathLst>
                <a:path w="999" h="561" fill="none" extrusionOk="0">
                  <a:moveTo>
                    <a:pt x="999" y="560"/>
                  </a:moveTo>
                  <a:lnTo>
                    <a:pt x="0"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5" name="Shape 659"/>
            <p:cNvSpPr/>
            <p:nvPr/>
          </p:nvSpPr>
          <p:spPr>
            <a:xfrm>
              <a:off x="6997425" y="593700"/>
              <a:ext cx="25" cy="25"/>
            </a:xfrm>
            <a:custGeom>
              <a:avLst/>
              <a:gdLst/>
              <a:ahLst/>
              <a:cxnLst/>
              <a:rect l="0" t="0" r="0" b="0"/>
              <a:pathLst>
                <a:path w="1" h="1" fill="none" extrusionOk="0">
                  <a:moveTo>
                    <a:pt x="1" y="0"/>
                  </a:moveTo>
                  <a:lnTo>
                    <a:pt x="1"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6" name="Shape 660"/>
            <p:cNvSpPr/>
            <p:nvPr/>
          </p:nvSpPr>
          <p:spPr>
            <a:xfrm>
              <a:off x="6991350" y="507225"/>
              <a:ext cx="29250" cy="25"/>
            </a:xfrm>
            <a:custGeom>
              <a:avLst/>
              <a:gdLst/>
              <a:ahLst/>
              <a:cxnLst/>
              <a:rect l="0" t="0" r="0" b="0"/>
              <a:pathLst>
                <a:path w="1170" h="1" fill="none" extrusionOk="0">
                  <a:moveTo>
                    <a:pt x="1169" y="1"/>
                  </a:moveTo>
                  <a:lnTo>
                    <a:pt x="0" y="1"/>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Shape 661"/>
            <p:cNvSpPr/>
            <p:nvPr/>
          </p:nvSpPr>
          <p:spPr>
            <a:xfrm>
              <a:off x="6972475" y="420775"/>
              <a:ext cx="24975" cy="14025"/>
            </a:xfrm>
            <a:custGeom>
              <a:avLst/>
              <a:gdLst/>
              <a:ahLst/>
              <a:cxnLst/>
              <a:rect l="0" t="0" r="0" b="0"/>
              <a:pathLst>
                <a:path w="999" h="561" fill="none" extrusionOk="0">
                  <a:moveTo>
                    <a:pt x="0" y="561"/>
                  </a:moveTo>
                  <a:lnTo>
                    <a:pt x="999"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 name="Shape 662"/>
            <p:cNvSpPr/>
            <p:nvPr/>
          </p:nvSpPr>
          <p:spPr>
            <a:xfrm>
              <a:off x="6997425" y="420775"/>
              <a:ext cx="25" cy="25"/>
            </a:xfrm>
            <a:custGeom>
              <a:avLst/>
              <a:gdLst/>
              <a:ahLst/>
              <a:cxnLst/>
              <a:rect l="0" t="0" r="0" b="0"/>
              <a:pathLst>
                <a:path w="1" h="1" fill="none" extrusionOk="0">
                  <a:moveTo>
                    <a:pt x="1" y="0"/>
                  </a:moveTo>
                  <a:lnTo>
                    <a:pt x="1"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9" name="Shape 663"/>
            <p:cNvSpPr/>
            <p:nvPr/>
          </p:nvSpPr>
          <p:spPr>
            <a:xfrm>
              <a:off x="6919500" y="356850"/>
              <a:ext cx="14025" cy="24975"/>
            </a:xfrm>
            <a:custGeom>
              <a:avLst/>
              <a:gdLst/>
              <a:ahLst/>
              <a:cxnLst/>
              <a:rect l="0" t="0" r="0" b="0"/>
              <a:pathLst>
                <a:path w="561" h="999" fill="none" extrusionOk="0">
                  <a:moveTo>
                    <a:pt x="560" y="0"/>
                  </a:moveTo>
                  <a:lnTo>
                    <a:pt x="0" y="999"/>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0" name="Shape 664"/>
            <p:cNvSpPr/>
            <p:nvPr/>
          </p:nvSpPr>
          <p:spPr>
            <a:xfrm>
              <a:off x="6933500" y="356850"/>
              <a:ext cx="25" cy="25"/>
            </a:xfrm>
            <a:custGeom>
              <a:avLst/>
              <a:gdLst/>
              <a:ahLst/>
              <a:cxnLst/>
              <a:rect l="0" t="0" r="0" b="0"/>
              <a:pathLst>
                <a:path w="1" h="1" fill="none" extrusionOk="0">
                  <a:moveTo>
                    <a:pt x="0" y="0"/>
                  </a:moveTo>
                  <a:lnTo>
                    <a:pt x="0" y="0"/>
                  </a:lnTo>
                </a:path>
              </a:pathLst>
            </a:custGeom>
            <a:grpFill/>
            <a:ln w="12175" cap="rnd" cmpd="sng">
              <a:solidFill>
                <a:srgbClr val="222222"/>
              </a:solidFill>
              <a:prstDash val="solid"/>
              <a:round/>
              <a:headEnd type="none" w="sm" len="sm"/>
              <a:tailEnd type="none" w="sm" len="sm"/>
            </a:ln>
          </p:spPr>
          <p:txBody>
            <a:bodyPr spcFirstLastPara="1" wrap="square" lIns="91425" tIns="91425" rIns="91425" bIns="91425" anchor="ctr" anchorCtr="0">
              <a:noAutofit/>
            </a:bodyPr>
            <a:lstStyle/>
            <a:p>
              <a:pPr marL="0" lvl="0" indent="0">
                <a:spcBef>
                  <a:spcPts val="0"/>
                </a:spcBef>
                <a:spcAft>
                  <a:spcPts val="0"/>
                </a:spcAft>
                <a:buNone/>
              </a:pPr>
              <a:endParaRPr/>
            </a:p>
          </p:txBody>
        </p:sp>
      </p:grpSp>
      <p:sp>
        <p:nvSpPr>
          <p:cNvPr id="41" name="Block Arc 11">
            <a:extLst>
              <a:ext uri="{FF2B5EF4-FFF2-40B4-BE49-F238E27FC236}">
                <a16:creationId xmlns="" xmlns:a16="http://schemas.microsoft.com/office/drawing/2014/main" id="{05E77CDE-4D86-42D9-A516-63FBB9FAF6C8}"/>
              </a:ext>
            </a:extLst>
          </p:cNvPr>
          <p:cNvSpPr/>
          <p:nvPr/>
        </p:nvSpPr>
        <p:spPr>
          <a:xfrm rot="10800000">
            <a:off x="4630796" y="3253252"/>
            <a:ext cx="189182" cy="271854"/>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solidFill>
            </a:endParaRPr>
          </a:p>
        </p:txBody>
      </p:sp>
      <p:pic>
        <p:nvPicPr>
          <p:cNvPr id="42" name="Picture 4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38875" y="3557303"/>
            <a:ext cx="323847" cy="323847"/>
          </a:xfrm>
          <a:prstGeom prst="rect">
            <a:avLst/>
          </a:prstGeom>
        </p:spPr>
      </p:pic>
      <p:pic>
        <p:nvPicPr>
          <p:cNvPr id="43" name="Picture 4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01927" y="3957674"/>
            <a:ext cx="250082" cy="250082"/>
          </a:xfrm>
          <a:prstGeom prst="rect">
            <a:avLst/>
          </a:prstGeom>
        </p:spPr>
      </p:pic>
    </p:spTree>
    <p:extLst>
      <p:ext uri="{BB962C8B-B14F-4D97-AF65-F5344CB8AC3E}">
        <p14:creationId xmlns:p14="http://schemas.microsoft.com/office/powerpoint/2010/main" val="3044335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80">
                                          <p:stCondLst>
                                            <p:cond delay="0"/>
                                          </p:stCondLst>
                                        </p:cTn>
                                        <p:tgtEl>
                                          <p:spTgt spid="12"/>
                                        </p:tgtEl>
                                      </p:cBhvr>
                                    </p:animEffect>
                                    <p:anim calcmode="lin" valueType="num">
                                      <p:cBhvr>
                                        <p:cTn id="8"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13" dur="26">
                                          <p:stCondLst>
                                            <p:cond delay="650"/>
                                          </p:stCondLst>
                                        </p:cTn>
                                        <p:tgtEl>
                                          <p:spTgt spid="12"/>
                                        </p:tgtEl>
                                      </p:cBhvr>
                                      <p:to x="100000" y="60000"/>
                                    </p:animScale>
                                    <p:animScale>
                                      <p:cBhvr>
                                        <p:cTn id="14" dur="166" decel="50000">
                                          <p:stCondLst>
                                            <p:cond delay="676"/>
                                          </p:stCondLst>
                                        </p:cTn>
                                        <p:tgtEl>
                                          <p:spTgt spid="12"/>
                                        </p:tgtEl>
                                      </p:cBhvr>
                                      <p:to x="100000" y="100000"/>
                                    </p:animScale>
                                    <p:animScale>
                                      <p:cBhvr>
                                        <p:cTn id="15" dur="26">
                                          <p:stCondLst>
                                            <p:cond delay="1312"/>
                                          </p:stCondLst>
                                        </p:cTn>
                                        <p:tgtEl>
                                          <p:spTgt spid="12"/>
                                        </p:tgtEl>
                                      </p:cBhvr>
                                      <p:to x="100000" y="80000"/>
                                    </p:animScale>
                                    <p:animScale>
                                      <p:cBhvr>
                                        <p:cTn id="16" dur="166" decel="50000">
                                          <p:stCondLst>
                                            <p:cond delay="1338"/>
                                          </p:stCondLst>
                                        </p:cTn>
                                        <p:tgtEl>
                                          <p:spTgt spid="12"/>
                                        </p:tgtEl>
                                      </p:cBhvr>
                                      <p:to x="100000" y="100000"/>
                                    </p:animScale>
                                    <p:animScale>
                                      <p:cBhvr>
                                        <p:cTn id="17" dur="26">
                                          <p:stCondLst>
                                            <p:cond delay="1642"/>
                                          </p:stCondLst>
                                        </p:cTn>
                                        <p:tgtEl>
                                          <p:spTgt spid="12"/>
                                        </p:tgtEl>
                                      </p:cBhvr>
                                      <p:to x="100000" y="90000"/>
                                    </p:animScale>
                                    <p:animScale>
                                      <p:cBhvr>
                                        <p:cTn id="18" dur="166" decel="50000">
                                          <p:stCondLst>
                                            <p:cond delay="1668"/>
                                          </p:stCondLst>
                                        </p:cTn>
                                        <p:tgtEl>
                                          <p:spTgt spid="12"/>
                                        </p:tgtEl>
                                      </p:cBhvr>
                                      <p:to x="100000" y="100000"/>
                                    </p:animScale>
                                    <p:animScale>
                                      <p:cBhvr>
                                        <p:cTn id="19" dur="26">
                                          <p:stCondLst>
                                            <p:cond delay="1808"/>
                                          </p:stCondLst>
                                        </p:cTn>
                                        <p:tgtEl>
                                          <p:spTgt spid="12"/>
                                        </p:tgtEl>
                                      </p:cBhvr>
                                      <p:to x="100000" y="95000"/>
                                    </p:animScale>
                                    <p:animScale>
                                      <p:cBhvr>
                                        <p:cTn id="20" dur="166" decel="50000">
                                          <p:stCondLst>
                                            <p:cond delay="1834"/>
                                          </p:stCondLst>
                                        </p:cTn>
                                        <p:tgtEl>
                                          <p:spTgt spid="12"/>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1000"/>
                                        <p:tgtEl>
                                          <p:spTgt spid="14"/>
                                        </p:tgtEl>
                                      </p:cBhvr>
                                    </p:animEffect>
                                    <p:anim calcmode="lin" valueType="num">
                                      <p:cBhvr>
                                        <p:cTn id="32" dur="1000" fill="hold"/>
                                        <p:tgtEl>
                                          <p:spTgt spid="14"/>
                                        </p:tgtEl>
                                        <p:attrNameLst>
                                          <p:attrName>ppt_x</p:attrName>
                                        </p:attrNameLst>
                                      </p:cBhvr>
                                      <p:tavLst>
                                        <p:tav tm="0">
                                          <p:val>
                                            <p:strVal val="#ppt_x"/>
                                          </p:val>
                                        </p:tav>
                                        <p:tav tm="100000">
                                          <p:val>
                                            <p:strVal val="#ppt_x"/>
                                          </p:val>
                                        </p:tav>
                                      </p:tavLst>
                                    </p:anim>
                                    <p:anim calcmode="lin" valueType="num">
                                      <p:cBhvr>
                                        <p:cTn id="3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1000"/>
                                        <p:tgtEl>
                                          <p:spTgt spid="15"/>
                                        </p:tgtEl>
                                      </p:cBhvr>
                                    </p:animEffect>
                                    <p:anim calcmode="lin" valueType="num">
                                      <p:cBhvr>
                                        <p:cTn id="39" dur="1000" fill="hold"/>
                                        <p:tgtEl>
                                          <p:spTgt spid="15"/>
                                        </p:tgtEl>
                                        <p:attrNameLst>
                                          <p:attrName>ppt_x</p:attrName>
                                        </p:attrNameLst>
                                      </p:cBhvr>
                                      <p:tavLst>
                                        <p:tav tm="0">
                                          <p:val>
                                            <p:strVal val="#ppt_x"/>
                                          </p:val>
                                        </p:tav>
                                        <p:tav tm="100000">
                                          <p:val>
                                            <p:strVal val="#ppt_x"/>
                                          </p:val>
                                        </p:tav>
                                      </p:tavLst>
                                    </p:anim>
                                    <p:anim calcmode="lin" valueType="num">
                                      <p:cBhvr>
                                        <p:cTn id="40"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nodeType="click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1000"/>
                                        <p:tgtEl>
                                          <p:spTgt spid="17"/>
                                        </p:tgtEl>
                                      </p:cBhvr>
                                    </p:animEffect>
                                    <p:anim calcmode="lin" valueType="num">
                                      <p:cBhvr>
                                        <p:cTn id="46" dur="1000" fill="hold"/>
                                        <p:tgtEl>
                                          <p:spTgt spid="17"/>
                                        </p:tgtEl>
                                        <p:attrNameLst>
                                          <p:attrName>ppt_x</p:attrName>
                                        </p:attrNameLst>
                                      </p:cBhvr>
                                      <p:tavLst>
                                        <p:tav tm="0">
                                          <p:val>
                                            <p:strVal val="#ppt_x"/>
                                          </p:val>
                                        </p:tav>
                                        <p:tav tm="100000">
                                          <p:val>
                                            <p:strVal val="#ppt_x"/>
                                          </p:val>
                                        </p:tav>
                                      </p:tavLst>
                                    </p:anim>
                                    <p:anim calcmode="lin" valueType="num">
                                      <p:cBhvr>
                                        <p:cTn id="4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2" presetClass="entr" presetSubtype="4" fill="hold" nodeType="click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additive="base">
                                        <p:cTn id="52" dur="500" fill="hold"/>
                                        <p:tgtEl>
                                          <p:spTgt spid="16"/>
                                        </p:tgtEl>
                                        <p:attrNameLst>
                                          <p:attrName>ppt_x</p:attrName>
                                        </p:attrNameLst>
                                      </p:cBhvr>
                                      <p:tavLst>
                                        <p:tav tm="0">
                                          <p:val>
                                            <p:strVal val="#ppt_x"/>
                                          </p:val>
                                        </p:tav>
                                        <p:tav tm="100000">
                                          <p:val>
                                            <p:strVal val="#ppt_x"/>
                                          </p:val>
                                        </p:tav>
                                      </p:tavLst>
                                    </p:anim>
                                    <p:anim calcmode="lin" valueType="num">
                                      <p:cBhvr additive="base">
                                        <p:cTn id="53"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5" presetClass="entr" presetSubtype="0" fill="hold" grpId="0" nodeType="clickEffect">
                                  <p:stCondLst>
                                    <p:cond delay="0"/>
                                  </p:stCondLst>
                                  <p:childTnLst>
                                    <p:set>
                                      <p:cBhvr>
                                        <p:cTn id="57" dur="1" fill="hold">
                                          <p:stCondLst>
                                            <p:cond delay="0"/>
                                          </p:stCondLst>
                                        </p:cTn>
                                        <p:tgtEl>
                                          <p:spTgt spid="41"/>
                                        </p:tgtEl>
                                        <p:attrNameLst>
                                          <p:attrName>style.visibility</p:attrName>
                                        </p:attrNameLst>
                                      </p:cBhvr>
                                      <p:to>
                                        <p:strVal val="visible"/>
                                      </p:to>
                                    </p:set>
                                    <p:animEffect transition="in" filter="fade">
                                      <p:cBhvr>
                                        <p:cTn id="58" dur="2000"/>
                                        <p:tgtEl>
                                          <p:spTgt spid="41"/>
                                        </p:tgtEl>
                                      </p:cBhvr>
                                    </p:animEffect>
                                    <p:anim calcmode="lin" valueType="num">
                                      <p:cBhvr>
                                        <p:cTn id="59" dur="2000" fill="hold"/>
                                        <p:tgtEl>
                                          <p:spTgt spid="41"/>
                                        </p:tgtEl>
                                        <p:attrNameLst>
                                          <p:attrName>ppt_w</p:attrName>
                                        </p:attrNameLst>
                                      </p:cBhvr>
                                      <p:tavLst>
                                        <p:tav tm="0" fmla="#ppt_w*sin(2.5*pi*$)">
                                          <p:val>
                                            <p:fltVal val="0"/>
                                          </p:val>
                                        </p:tav>
                                        <p:tav tm="100000">
                                          <p:val>
                                            <p:fltVal val="1"/>
                                          </p:val>
                                        </p:tav>
                                      </p:tavLst>
                                    </p:anim>
                                    <p:anim calcmode="lin" valueType="num">
                                      <p:cBhvr>
                                        <p:cTn id="60" dur="2000" fill="hold"/>
                                        <p:tgtEl>
                                          <p:spTgt spid="41"/>
                                        </p:tgtEl>
                                        <p:attrNameLst>
                                          <p:attrName>ppt_h</p:attrName>
                                        </p:attrNameLst>
                                      </p:cBhvr>
                                      <p:tavLst>
                                        <p:tav tm="0">
                                          <p:val>
                                            <p:strVal val="#ppt_h"/>
                                          </p:val>
                                        </p:tav>
                                        <p:tav tm="100000">
                                          <p:val>
                                            <p:strVal val="#ppt_h"/>
                                          </p:val>
                                        </p:tav>
                                      </p:tavLst>
                                    </p:anim>
                                  </p:childTnLst>
                                </p:cTn>
                              </p:par>
                            </p:childTnLst>
                          </p:cTn>
                        </p:par>
                      </p:childTnLst>
                    </p:cTn>
                  </p:par>
                  <p:par>
                    <p:cTn id="61" fill="hold">
                      <p:stCondLst>
                        <p:cond delay="indefinite"/>
                      </p:stCondLst>
                      <p:childTnLst>
                        <p:par>
                          <p:cTn id="62" fill="hold">
                            <p:stCondLst>
                              <p:cond delay="0"/>
                            </p:stCondLst>
                            <p:childTnLst>
                              <p:par>
                                <p:cTn id="63" presetID="16" presetClass="entr" presetSubtype="21" fill="hold" nodeType="click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barn(inVertical)">
                                      <p:cBhvr>
                                        <p:cTn id="65" dur="500"/>
                                        <p:tgtEl>
                                          <p:spTgt spid="42"/>
                                        </p:tgtEl>
                                      </p:cBhvr>
                                    </p:animEffect>
                                  </p:childTnLst>
                                </p:cTn>
                              </p:par>
                            </p:childTnLst>
                          </p:cTn>
                        </p:par>
                      </p:childTnLst>
                    </p:cTn>
                  </p:par>
                  <p:par>
                    <p:cTn id="66" fill="hold">
                      <p:stCondLst>
                        <p:cond delay="indefinite"/>
                      </p:stCondLst>
                      <p:childTnLst>
                        <p:par>
                          <p:cTn id="67" fill="hold">
                            <p:stCondLst>
                              <p:cond delay="0"/>
                            </p:stCondLst>
                            <p:childTnLst>
                              <p:par>
                                <p:cTn id="68" presetID="6" presetClass="entr" presetSubtype="16" fill="hold" nodeType="click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circle(in)">
                                      <p:cBhvr>
                                        <p:cTn id="70" dur="2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Oval 97"/>
          <p:cNvSpPr/>
          <p:nvPr/>
        </p:nvSpPr>
        <p:spPr>
          <a:xfrm>
            <a:off x="6041626" y="3143250"/>
            <a:ext cx="1730774" cy="342900"/>
          </a:xfrm>
          <a:prstGeom prst="ellipse">
            <a:avLst/>
          </a:prstGeom>
          <a:gradFill flip="none" rotWithShape="1">
            <a:gsLst>
              <a:gs pos="0">
                <a:schemeClr val="tx1"/>
              </a:gs>
              <a:gs pos="100000">
                <a:schemeClr val="bg1">
                  <a:alpha val="0"/>
                  <a:lumMod val="0"/>
                  <a:lumOff val="100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7" name="Group 86"/>
          <p:cNvGrpSpPr/>
          <p:nvPr/>
        </p:nvGrpSpPr>
        <p:grpSpPr>
          <a:xfrm>
            <a:off x="1143000" y="1163864"/>
            <a:ext cx="4723477" cy="3152492"/>
            <a:chOff x="634605" y="1066801"/>
            <a:chExt cx="3842625" cy="1193561"/>
          </a:xfrm>
        </p:grpSpPr>
        <p:sp>
          <p:nvSpPr>
            <p:cNvPr id="88" name="Parallelogram 5"/>
            <p:cNvSpPr/>
            <p:nvPr/>
          </p:nvSpPr>
          <p:spPr>
            <a:xfrm rot="16200000" flipV="1">
              <a:off x="1964008" y="-252860"/>
              <a:ext cx="1193561" cy="3832883"/>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solidFill>
                  <a:schemeClr val="tx1"/>
                </a:solidFill>
              </a:endParaRPr>
            </a:p>
          </p:txBody>
        </p:sp>
        <p:sp>
          <p:nvSpPr>
            <p:cNvPr id="89" name="TextBox 88"/>
            <p:cNvSpPr txBox="1"/>
            <p:nvPr/>
          </p:nvSpPr>
          <p:spPr>
            <a:xfrm>
              <a:off x="634605" y="1251797"/>
              <a:ext cx="3789793" cy="174790"/>
            </a:xfrm>
            <a:prstGeom prst="rect">
              <a:avLst/>
            </a:prstGeom>
            <a:noFill/>
            <a:ln>
              <a:noFill/>
            </a:ln>
          </p:spPr>
          <p:txBody>
            <a:bodyPr wrap="square" rtlCol="0">
              <a:spAutoFit/>
            </a:bodyPr>
            <a:lstStyle/>
            <a:p>
              <a:pPr algn="ctr"/>
              <a:r>
                <a:rPr lang="en-US" sz="2400" dirty="0" smtClean="0"/>
                <a:t>Any Question</a:t>
              </a:r>
              <a:endParaRPr lang="en-US" sz="2400" dirty="0"/>
            </a:p>
          </p:txBody>
        </p:sp>
      </p:grpSp>
      <p:sp>
        <p:nvSpPr>
          <p:cNvPr id="2" name="TextBox 1"/>
          <p:cNvSpPr txBox="1"/>
          <p:nvPr/>
        </p:nvSpPr>
        <p:spPr>
          <a:xfrm>
            <a:off x="5486400" y="673718"/>
            <a:ext cx="2552704" cy="4708981"/>
          </a:xfrm>
          <a:prstGeom prst="rect">
            <a:avLst/>
          </a:prstGeom>
          <a:noFill/>
        </p:spPr>
        <p:txBody>
          <a:bodyPr wrap="square" rtlCol="0">
            <a:spAutoFit/>
            <a:scene3d>
              <a:camera prst="perspectiveLeft" fov="4200000">
                <a:rot lat="0" lon="1799999" rev="0"/>
              </a:camera>
              <a:lightRig rig="threePt" dir="t"/>
            </a:scene3d>
            <a:sp3d extrusionH="508000" prstMaterial="metal">
              <a:bevelT w="190500" h="190500"/>
            </a:sp3d>
          </a:bodyPr>
          <a:lstStyle/>
          <a:p>
            <a:pPr algn="ctr"/>
            <a:r>
              <a:rPr lang="en-US" sz="30000" dirty="0" smtClean="0">
                <a:solidFill>
                  <a:srgbClr val="FF6600"/>
                </a:solidFill>
                <a:latin typeface="Arial Black" pitchFamily="34" charset="0"/>
                <a:cs typeface="Arial" pitchFamily="34" charset="0"/>
              </a:rPr>
              <a:t>?</a:t>
            </a:r>
            <a:endParaRPr lang="en-US" sz="30000" dirty="0">
              <a:solidFill>
                <a:srgbClr val="FF6600"/>
              </a:solidFill>
              <a:latin typeface="Arial Black" pitchFamily="34" charset="0"/>
              <a:cs typeface="Arial" pitchFamily="34" charset="0"/>
            </a:endParaRPr>
          </a:p>
        </p:txBody>
      </p:sp>
      <p:grpSp>
        <p:nvGrpSpPr>
          <p:cNvPr id="48" name="Group 47"/>
          <p:cNvGrpSpPr>
            <a:grpSpLocks noChangeAspect="1"/>
          </p:cNvGrpSpPr>
          <p:nvPr/>
        </p:nvGrpSpPr>
        <p:grpSpPr>
          <a:xfrm>
            <a:off x="4343401" y="2668333"/>
            <a:ext cx="669925" cy="1217867"/>
            <a:chOff x="3157538" y="2109788"/>
            <a:chExt cx="677863" cy="1643063"/>
          </a:xfrm>
        </p:grpSpPr>
        <p:sp>
          <p:nvSpPr>
            <p:cNvPr id="49" name="Freeform 29"/>
            <p:cNvSpPr>
              <a:spLocks noEditPoints="1"/>
            </p:cNvSpPr>
            <p:nvPr/>
          </p:nvSpPr>
          <p:spPr bwMode="auto">
            <a:xfrm>
              <a:off x="3157538" y="2109788"/>
              <a:ext cx="677863" cy="1643063"/>
            </a:xfrm>
            <a:custGeom>
              <a:avLst/>
              <a:gdLst>
                <a:gd name="T0" fmla="*/ 159 w 320"/>
                <a:gd name="T1" fmla="*/ 699 h 776"/>
                <a:gd name="T2" fmla="*/ 167 w 320"/>
                <a:gd name="T3" fmla="*/ 726 h 776"/>
                <a:gd name="T4" fmla="*/ 169 w 320"/>
                <a:gd name="T5" fmla="*/ 740 h 776"/>
                <a:gd name="T6" fmla="*/ 203 w 320"/>
                <a:gd name="T7" fmla="*/ 754 h 776"/>
                <a:gd name="T8" fmla="*/ 257 w 320"/>
                <a:gd name="T9" fmla="*/ 760 h 776"/>
                <a:gd name="T10" fmla="*/ 246 w 320"/>
                <a:gd name="T11" fmla="*/ 740 h 776"/>
                <a:gd name="T12" fmla="*/ 220 w 320"/>
                <a:gd name="T13" fmla="*/ 716 h 776"/>
                <a:gd name="T14" fmla="*/ 220 w 320"/>
                <a:gd name="T15" fmla="*/ 647 h 776"/>
                <a:gd name="T16" fmla="*/ 233 w 320"/>
                <a:gd name="T17" fmla="*/ 423 h 776"/>
                <a:gd name="T18" fmla="*/ 249 w 320"/>
                <a:gd name="T19" fmla="*/ 399 h 776"/>
                <a:gd name="T20" fmla="*/ 279 w 320"/>
                <a:gd name="T21" fmla="*/ 409 h 776"/>
                <a:gd name="T22" fmla="*/ 291 w 320"/>
                <a:gd name="T23" fmla="*/ 399 h 776"/>
                <a:gd name="T24" fmla="*/ 269 w 320"/>
                <a:gd name="T25" fmla="*/ 229 h 776"/>
                <a:gd name="T26" fmla="*/ 310 w 320"/>
                <a:gd name="T27" fmla="*/ 214 h 776"/>
                <a:gd name="T28" fmla="*/ 280 w 320"/>
                <a:gd name="T29" fmla="*/ 106 h 776"/>
                <a:gd name="T30" fmla="*/ 255 w 320"/>
                <a:gd name="T31" fmla="*/ 74 h 776"/>
                <a:gd name="T32" fmla="*/ 246 w 320"/>
                <a:gd name="T33" fmla="*/ 65 h 776"/>
                <a:gd name="T34" fmla="*/ 235 w 320"/>
                <a:gd name="T35" fmla="*/ 62 h 776"/>
                <a:gd name="T36" fmla="*/ 205 w 320"/>
                <a:gd name="T37" fmla="*/ 15 h 776"/>
                <a:gd name="T38" fmla="*/ 131 w 320"/>
                <a:gd name="T39" fmla="*/ 48 h 776"/>
                <a:gd name="T40" fmla="*/ 127 w 320"/>
                <a:gd name="T41" fmla="*/ 94 h 776"/>
                <a:gd name="T42" fmla="*/ 119 w 320"/>
                <a:gd name="T43" fmla="*/ 98 h 776"/>
                <a:gd name="T44" fmla="*/ 101 w 320"/>
                <a:gd name="T45" fmla="*/ 111 h 776"/>
                <a:gd name="T46" fmla="*/ 30 w 320"/>
                <a:gd name="T47" fmla="*/ 149 h 776"/>
                <a:gd name="T48" fmla="*/ 8 w 320"/>
                <a:gd name="T49" fmla="*/ 265 h 776"/>
                <a:gd name="T50" fmla="*/ 39 w 320"/>
                <a:gd name="T51" fmla="*/ 422 h 776"/>
                <a:gd name="T52" fmla="*/ 56 w 320"/>
                <a:gd name="T53" fmla="*/ 427 h 776"/>
                <a:gd name="T54" fmla="*/ 6 w 320"/>
                <a:gd name="T55" fmla="*/ 754 h 776"/>
                <a:gd name="T56" fmla="*/ 48 w 320"/>
                <a:gd name="T57" fmla="*/ 771 h 776"/>
                <a:gd name="T58" fmla="*/ 63 w 320"/>
                <a:gd name="T59" fmla="*/ 739 h 776"/>
                <a:gd name="T60" fmla="*/ 63 w 320"/>
                <a:gd name="T61" fmla="*/ 730 h 776"/>
                <a:gd name="T62" fmla="*/ 111 w 320"/>
                <a:gd name="T63" fmla="*/ 603 h 776"/>
                <a:gd name="T64" fmla="*/ 212 w 320"/>
                <a:gd name="T65" fmla="*/ 89 h 776"/>
                <a:gd name="T66" fmla="*/ 219 w 320"/>
                <a:gd name="T67" fmla="*/ 94 h 776"/>
                <a:gd name="T68" fmla="*/ 240 w 320"/>
                <a:gd name="T69" fmla="*/ 109 h 776"/>
                <a:gd name="T70" fmla="*/ 244 w 320"/>
                <a:gd name="T71" fmla="*/ 127 h 776"/>
                <a:gd name="T72" fmla="*/ 260 w 320"/>
                <a:gd name="T73" fmla="*/ 158 h 776"/>
                <a:gd name="T74" fmla="*/ 251 w 320"/>
                <a:gd name="T75" fmla="*/ 149 h 776"/>
                <a:gd name="T76" fmla="*/ 226 w 320"/>
                <a:gd name="T77" fmla="*/ 135 h 776"/>
                <a:gd name="T78" fmla="*/ 181 w 320"/>
                <a:gd name="T79" fmla="*/ 125 h 776"/>
                <a:gd name="T80" fmla="*/ 202 w 320"/>
                <a:gd name="T81" fmla="*/ 101 h 776"/>
                <a:gd name="T82" fmla="*/ 208 w 320"/>
                <a:gd name="T83" fmla="*/ 86 h 776"/>
                <a:gd name="T84" fmla="*/ 215 w 320"/>
                <a:gd name="T85" fmla="*/ 70 h 776"/>
                <a:gd name="T86" fmla="*/ 222 w 320"/>
                <a:gd name="T87" fmla="*/ 74 h 776"/>
                <a:gd name="T88" fmla="*/ 213 w 320"/>
                <a:gd name="T89" fmla="*/ 76 h 776"/>
                <a:gd name="T90" fmla="*/ 229 w 320"/>
                <a:gd name="T91" fmla="*/ 81 h 776"/>
                <a:gd name="T92" fmla="*/ 229 w 320"/>
                <a:gd name="T93" fmla="*/ 81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776">
                  <a:moveTo>
                    <a:pt x="146" y="465"/>
                  </a:moveTo>
                  <a:cubicBezTo>
                    <a:pt x="146" y="465"/>
                    <a:pt x="158" y="671"/>
                    <a:pt x="159" y="699"/>
                  </a:cubicBezTo>
                  <a:cubicBezTo>
                    <a:pt x="160" y="728"/>
                    <a:pt x="159" y="726"/>
                    <a:pt x="159" y="726"/>
                  </a:cubicBezTo>
                  <a:cubicBezTo>
                    <a:pt x="167" y="726"/>
                    <a:pt x="167" y="726"/>
                    <a:pt x="167" y="726"/>
                  </a:cubicBezTo>
                  <a:cubicBezTo>
                    <a:pt x="167" y="726"/>
                    <a:pt x="167" y="730"/>
                    <a:pt x="168" y="733"/>
                  </a:cubicBezTo>
                  <a:cubicBezTo>
                    <a:pt x="169" y="736"/>
                    <a:pt x="166" y="738"/>
                    <a:pt x="169" y="740"/>
                  </a:cubicBezTo>
                  <a:cubicBezTo>
                    <a:pt x="172" y="743"/>
                    <a:pt x="188" y="747"/>
                    <a:pt x="191" y="747"/>
                  </a:cubicBezTo>
                  <a:cubicBezTo>
                    <a:pt x="193" y="747"/>
                    <a:pt x="198" y="748"/>
                    <a:pt x="203" y="754"/>
                  </a:cubicBezTo>
                  <a:cubicBezTo>
                    <a:pt x="207" y="760"/>
                    <a:pt x="219" y="767"/>
                    <a:pt x="229" y="768"/>
                  </a:cubicBezTo>
                  <a:cubicBezTo>
                    <a:pt x="238" y="768"/>
                    <a:pt x="257" y="763"/>
                    <a:pt x="257" y="760"/>
                  </a:cubicBezTo>
                  <a:cubicBezTo>
                    <a:pt x="257" y="757"/>
                    <a:pt x="255" y="756"/>
                    <a:pt x="255" y="756"/>
                  </a:cubicBezTo>
                  <a:cubicBezTo>
                    <a:pt x="255" y="756"/>
                    <a:pt x="256" y="749"/>
                    <a:pt x="246" y="740"/>
                  </a:cubicBezTo>
                  <a:cubicBezTo>
                    <a:pt x="237" y="731"/>
                    <a:pt x="226" y="725"/>
                    <a:pt x="222" y="720"/>
                  </a:cubicBezTo>
                  <a:cubicBezTo>
                    <a:pt x="219" y="715"/>
                    <a:pt x="220" y="716"/>
                    <a:pt x="220" y="716"/>
                  </a:cubicBezTo>
                  <a:cubicBezTo>
                    <a:pt x="223" y="717"/>
                    <a:pt x="223" y="717"/>
                    <a:pt x="223" y="717"/>
                  </a:cubicBezTo>
                  <a:cubicBezTo>
                    <a:pt x="223" y="717"/>
                    <a:pt x="219" y="675"/>
                    <a:pt x="220" y="647"/>
                  </a:cubicBezTo>
                  <a:cubicBezTo>
                    <a:pt x="221" y="619"/>
                    <a:pt x="227" y="523"/>
                    <a:pt x="229" y="503"/>
                  </a:cubicBezTo>
                  <a:cubicBezTo>
                    <a:pt x="232" y="482"/>
                    <a:pt x="234" y="433"/>
                    <a:pt x="233" y="423"/>
                  </a:cubicBezTo>
                  <a:cubicBezTo>
                    <a:pt x="232" y="413"/>
                    <a:pt x="231" y="412"/>
                    <a:pt x="231" y="412"/>
                  </a:cubicBezTo>
                  <a:cubicBezTo>
                    <a:pt x="231" y="412"/>
                    <a:pt x="235" y="401"/>
                    <a:pt x="249" y="399"/>
                  </a:cubicBezTo>
                  <a:cubicBezTo>
                    <a:pt x="262" y="398"/>
                    <a:pt x="270" y="398"/>
                    <a:pt x="270" y="398"/>
                  </a:cubicBezTo>
                  <a:cubicBezTo>
                    <a:pt x="270" y="398"/>
                    <a:pt x="273" y="404"/>
                    <a:pt x="279" y="409"/>
                  </a:cubicBezTo>
                  <a:cubicBezTo>
                    <a:pt x="285" y="414"/>
                    <a:pt x="290" y="414"/>
                    <a:pt x="290" y="414"/>
                  </a:cubicBezTo>
                  <a:cubicBezTo>
                    <a:pt x="290" y="414"/>
                    <a:pt x="292" y="406"/>
                    <a:pt x="291" y="399"/>
                  </a:cubicBezTo>
                  <a:cubicBezTo>
                    <a:pt x="291" y="391"/>
                    <a:pt x="277" y="315"/>
                    <a:pt x="275" y="296"/>
                  </a:cubicBezTo>
                  <a:cubicBezTo>
                    <a:pt x="273" y="277"/>
                    <a:pt x="269" y="229"/>
                    <a:pt x="269" y="229"/>
                  </a:cubicBezTo>
                  <a:cubicBezTo>
                    <a:pt x="285" y="221"/>
                    <a:pt x="285" y="221"/>
                    <a:pt x="285" y="221"/>
                  </a:cubicBezTo>
                  <a:cubicBezTo>
                    <a:pt x="285" y="221"/>
                    <a:pt x="303" y="220"/>
                    <a:pt x="310" y="214"/>
                  </a:cubicBezTo>
                  <a:cubicBezTo>
                    <a:pt x="317" y="208"/>
                    <a:pt x="320" y="202"/>
                    <a:pt x="315" y="179"/>
                  </a:cubicBezTo>
                  <a:cubicBezTo>
                    <a:pt x="310" y="157"/>
                    <a:pt x="287" y="117"/>
                    <a:pt x="280" y="106"/>
                  </a:cubicBezTo>
                  <a:cubicBezTo>
                    <a:pt x="273" y="94"/>
                    <a:pt x="267" y="94"/>
                    <a:pt x="267" y="94"/>
                  </a:cubicBezTo>
                  <a:cubicBezTo>
                    <a:pt x="267" y="94"/>
                    <a:pt x="257" y="77"/>
                    <a:pt x="255" y="74"/>
                  </a:cubicBezTo>
                  <a:cubicBezTo>
                    <a:pt x="252" y="70"/>
                    <a:pt x="252" y="73"/>
                    <a:pt x="251" y="71"/>
                  </a:cubicBezTo>
                  <a:cubicBezTo>
                    <a:pt x="250" y="70"/>
                    <a:pt x="248" y="67"/>
                    <a:pt x="246" y="65"/>
                  </a:cubicBezTo>
                  <a:cubicBezTo>
                    <a:pt x="243" y="64"/>
                    <a:pt x="242" y="65"/>
                    <a:pt x="239" y="64"/>
                  </a:cubicBezTo>
                  <a:cubicBezTo>
                    <a:pt x="237" y="64"/>
                    <a:pt x="239" y="63"/>
                    <a:pt x="235" y="62"/>
                  </a:cubicBezTo>
                  <a:cubicBezTo>
                    <a:pt x="232" y="61"/>
                    <a:pt x="231" y="55"/>
                    <a:pt x="228" y="51"/>
                  </a:cubicBezTo>
                  <a:cubicBezTo>
                    <a:pt x="225" y="47"/>
                    <a:pt x="227" y="30"/>
                    <a:pt x="205" y="15"/>
                  </a:cubicBezTo>
                  <a:cubicBezTo>
                    <a:pt x="182" y="0"/>
                    <a:pt x="162" y="3"/>
                    <a:pt x="150" y="12"/>
                  </a:cubicBezTo>
                  <a:cubicBezTo>
                    <a:pt x="137" y="22"/>
                    <a:pt x="132" y="44"/>
                    <a:pt x="131" y="48"/>
                  </a:cubicBezTo>
                  <a:cubicBezTo>
                    <a:pt x="130" y="52"/>
                    <a:pt x="130" y="63"/>
                    <a:pt x="130" y="77"/>
                  </a:cubicBezTo>
                  <a:cubicBezTo>
                    <a:pt x="131" y="91"/>
                    <a:pt x="127" y="94"/>
                    <a:pt x="127" y="94"/>
                  </a:cubicBezTo>
                  <a:cubicBezTo>
                    <a:pt x="127" y="94"/>
                    <a:pt x="123" y="92"/>
                    <a:pt x="121" y="94"/>
                  </a:cubicBezTo>
                  <a:cubicBezTo>
                    <a:pt x="119" y="96"/>
                    <a:pt x="119" y="98"/>
                    <a:pt x="119" y="98"/>
                  </a:cubicBezTo>
                  <a:cubicBezTo>
                    <a:pt x="119" y="98"/>
                    <a:pt x="117" y="96"/>
                    <a:pt x="113" y="100"/>
                  </a:cubicBezTo>
                  <a:cubicBezTo>
                    <a:pt x="109" y="105"/>
                    <a:pt x="102" y="111"/>
                    <a:pt x="101" y="111"/>
                  </a:cubicBezTo>
                  <a:cubicBezTo>
                    <a:pt x="99" y="111"/>
                    <a:pt x="45" y="118"/>
                    <a:pt x="41" y="121"/>
                  </a:cubicBezTo>
                  <a:cubicBezTo>
                    <a:pt x="36" y="124"/>
                    <a:pt x="35" y="138"/>
                    <a:pt x="30" y="149"/>
                  </a:cubicBezTo>
                  <a:cubicBezTo>
                    <a:pt x="25" y="160"/>
                    <a:pt x="4" y="210"/>
                    <a:pt x="3" y="223"/>
                  </a:cubicBezTo>
                  <a:cubicBezTo>
                    <a:pt x="1" y="236"/>
                    <a:pt x="0" y="260"/>
                    <a:pt x="8" y="265"/>
                  </a:cubicBezTo>
                  <a:cubicBezTo>
                    <a:pt x="16" y="269"/>
                    <a:pt x="53" y="277"/>
                    <a:pt x="53" y="277"/>
                  </a:cubicBezTo>
                  <a:cubicBezTo>
                    <a:pt x="39" y="422"/>
                    <a:pt x="39" y="422"/>
                    <a:pt x="39" y="422"/>
                  </a:cubicBezTo>
                  <a:cubicBezTo>
                    <a:pt x="39" y="422"/>
                    <a:pt x="50" y="426"/>
                    <a:pt x="52" y="427"/>
                  </a:cubicBezTo>
                  <a:cubicBezTo>
                    <a:pt x="54" y="427"/>
                    <a:pt x="56" y="427"/>
                    <a:pt x="56" y="427"/>
                  </a:cubicBezTo>
                  <a:cubicBezTo>
                    <a:pt x="56" y="427"/>
                    <a:pt x="22" y="718"/>
                    <a:pt x="19" y="722"/>
                  </a:cubicBezTo>
                  <a:cubicBezTo>
                    <a:pt x="17" y="725"/>
                    <a:pt x="5" y="746"/>
                    <a:pt x="6" y="754"/>
                  </a:cubicBezTo>
                  <a:cubicBezTo>
                    <a:pt x="6" y="762"/>
                    <a:pt x="6" y="769"/>
                    <a:pt x="9" y="771"/>
                  </a:cubicBezTo>
                  <a:cubicBezTo>
                    <a:pt x="11" y="774"/>
                    <a:pt x="42" y="776"/>
                    <a:pt x="48" y="771"/>
                  </a:cubicBezTo>
                  <a:cubicBezTo>
                    <a:pt x="54" y="766"/>
                    <a:pt x="53" y="750"/>
                    <a:pt x="55" y="747"/>
                  </a:cubicBezTo>
                  <a:cubicBezTo>
                    <a:pt x="57" y="745"/>
                    <a:pt x="62" y="742"/>
                    <a:pt x="63" y="739"/>
                  </a:cubicBezTo>
                  <a:cubicBezTo>
                    <a:pt x="64" y="736"/>
                    <a:pt x="63" y="735"/>
                    <a:pt x="63" y="735"/>
                  </a:cubicBezTo>
                  <a:cubicBezTo>
                    <a:pt x="63" y="735"/>
                    <a:pt x="64" y="732"/>
                    <a:pt x="63" y="730"/>
                  </a:cubicBezTo>
                  <a:cubicBezTo>
                    <a:pt x="62" y="728"/>
                    <a:pt x="71" y="726"/>
                    <a:pt x="71" y="726"/>
                  </a:cubicBezTo>
                  <a:cubicBezTo>
                    <a:pt x="71" y="726"/>
                    <a:pt x="101" y="648"/>
                    <a:pt x="111" y="603"/>
                  </a:cubicBezTo>
                  <a:cubicBezTo>
                    <a:pt x="120" y="558"/>
                    <a:pt x="146" y="465"/>
                    <a:pt x="146" y="465"/>
                  </a:cubicBezTo>
                  <a:close/>
                  <a:moveTo>
                    <a:pt x="212" y="89"/>
                  </a:moveTo>
                  <a:cubicBezTo>
                    <a:pt x="212" y="89"/>
                    <a:pt x="209" y="93"/>
                    <a:pt x="213" y="94"/>
                  </a:cubicBezTo>
                  <a:cubicBezTo>
                    <a:pt x="217" y="96"/>
                    <a:pt x="219" y="94"/>
                    <a:pt x="219" y="94"/>
                  </a:cubicBezTo>
                  <a:cubicBezTo>
                    <a:pt x="219" y="94"/>
                    <a:pt x="221" y="100"/>
                    <a:pt x="226" y="103"/>
                  </a:cubicBezTo>
                  <a:cubicBezTo>
                    <a:pt x="231" y="106"/>
                    <a:pt x="240" y="109"/>
                    <a:pt x="240" y="109"/>
                  </a:cubicBezTo>
                  <a:cubicBezTo>
                    <a:pt x="240" y="109"/>
                    <a:pt x="238" y="112"/>
                    <a:pt x="238" y="113"/>
                  </a:cubicBezTo>
                  <a:cubicBezTo>
                    <a:pt x="238" y="114"/>
                    <a:pt x="240" y="117"/>
                    <a:pt x="244" y="127"/>
                  </a:cubicBezTo>
                  <a:cubicBezTo>
                    <a:pt x="248" y="136"/>
                    <a:pt x="258" y="150"/>
                    <a:pt x="258" y="152"/>
                  </a:cubicBezTo>
                  <a:cubicBezTo>
                    <a:pt x="258" y="154"/>
                    <a:pt x="260" y="158"/>
                    <a:pt x="260" y="158"/>
                  </a:cubicBezTo>
                  <a:cubicBezTo>
                    <a:pt x="260" y="158"/>
                    <a:pt x="258" y="157"/>
                    <a:pt x="257" y="156"/>
                  </a:cubicBezTo>
                  <a:cubicBezTo>
                    <a:pt x="257" y="155"/>
                    <a:pt x="257" y="152"/>
                    <a:pt x="251" y="149"/>
                  </a:cubicBezTo>
                  <a:cubicBezTo>
                    <a:pt x="246" y="146"/>
                    <a:pt x="244" y="143"/>
                    <a:pt x="239" y="139"/>
                  </a:cubicBezTo>
                  <a:cubicBezTo>
                    <a:pt x="234" y="135"/>
                    <a:pt x="229" y="135"/>
                    <a:pt x="226" y="135"/>
                  </a:cubicBezTo>
                  <a:cubicBezTo>
                    <a:pt x="223" y="135"/>
                    <a:pt x="209" y="132"/>
                    <a:pt x="202" y="130"/>
                  </a:cubicBezTo>
                  <a:cubicBezTo>
                    <a:pt x="195" y="128"/>
                    <a:pt x="181" y="125"/>
                    <a:pt x="181" y="125"/>
                  </a:cubicBezTo>
                  <a:cubicBezTo>
                    <a:pt x="181" y="125"/>
                    <a:pt x="194" y="114"/>
                    <a:pt x="195" y="110"/>
                  </a:cubicBezTo>
                  <a:cubicBezTo>
                    <a:pt x="196" y="106"/>
                    <a:pt x="200" y="104"/>
                    <a:pt x="202" y="101"/>
                  </a:cubicBezTo>
                  <a:cubicBezTo>
                    <a:pt x="204" y="99"/>
                    <a:pt x="206" y="88"/>
                    <a:pt x="206" y="87"/>
                  </a:cubicBezTo>
                  <a:cubicBezTo>
                    <a:pt x="206" y="86"/>
                    <a:pt x="208" y="86"/>
                    <a:pt x="208" y="86"/>
                  </a:cubicBezTo>
                  <a:cubicBezTo>
                    <a:pt x="212" y="89"/>
                    <a:pt x="212" y="89"/>
                    <a:pt x="212" y="89"/>
                  </a:cubicBezTo>
                  <a:close/>
                  <a:moveTo>
                    <a:pt x="215" y="70"/>
                  </a:moveTo>
                  <a:cubicBezTo>
                    <a:pt x="215" y="70"/>
                    <a:pt x="222" y="69"/>
                    <a:pt x="224" y="69"/>
                  </a:cubicBezTo>
                  <a:cubicBezTo>
                    <a:pt x="227" y="69"/>
                    <a:pt x="225" y="71"/>
                    <a:pt x="222" y="74"/>
                  </a:cubicBezTo>
                  <a:cubicBezTo>
                    <a:pt x="220" y="76"/>
                    <a:pt x="217" y="80"/>
                    <a:pt x="217" y="79"/>
                  </a:cubicBezTo>
                  <a:cubicBezTo>
                    <a:pt x="216" y="78"/>
                    <a:pt x="213" y="76"/>
                    <a:pt x="213" y="76"/>
                  </a:cubicBezTo>
                  <a:cubicBezTo>
                    <a:pt x="215" y="70"/>
                    <a:pt x="215" y="70"/>
                    <a:pt x="215" y="70"/>
                  </a:cubicBezTo>
                  <a:close/>
                  <a:moveTo>
                    <a:pt x="229" y="81"/>
                  </a:moveTo>
                  <a:cubicBezTo>
                    <a:pt x="229" y="81"/>
                    <a:pt x="226" y="85"/>
                    <a:pt x="226" y="85"/>
                  </a:cubicBezTo>
                  <a:cubicBezTo>
                    <a:pt x="225" y="85"/>
                    <a:pt x="225" y="84"/>
                    <a:pt x="229"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0"/>
            <p:cNvSpPr>
              <a:spLocks noEditPoints="1"/>
            </p:cNvSpPr>
            <p:nvPr/>
          </p:nvSpPr>
          <p:spPr bwMode="auto">
            <a:xfrm>
              <a:off x="3417888" y="2109788"/>
              <a:ext cx="315913" cy="304800"/>
            </a:xfrm>
            <a:custGeom>
              <a:avLst/>
              <a:gdLst>
                <a:gd name="T0" fmla="*/ 144 w 149"/>
                <a:gd name="T1" fmla="*/ 94 h 144"/>
                <a:gd name="T2" fmla="*/ 132 w 149"/>
                <a:gd name="T3" fmla="*/ 74 h 144"/>
                <a:gd name="T4" fmla="*/ 128 w 149"/>
                <a:gd name="T5" fmla="*/ 71 h 144"/>
                <a:gd name="T6" fmla="*/ 123 w 149"/>
                <a:gd name="T7" fmla="*/ 65 h 144"/>
                <a:gd name="T8" fmla="*/ 116 w 149"/>
                <a:gd name="T9" fmla="*/ 64 h 144"/>
                <a:gd name="T10" fmla="*/ 112 w 149"/>
                <a:gd name="T11" fmla="*/ 62 h 144"/>
                <a:gd name="T12" fmla="*/ 105 w 149"/>
                <a:gd name="T13" fmla="*/ 51 h 144"/>
                <a:gd name="T14" fmla="*/ 82 w 149"/>
                <a:gd name="T15" fmla="*/ 15 h 144"/>
                <a:gd name="T16" fmla="*/ 27 w 149"/>
                <a:gd name="T17" fmla="*/ 12 h 144"/>
                <a:gd name="T18" fmla="*/ 8 w 149"/>
                <a:gd name="T19" fmla="*/ 48 h 144"/>
                <a:gd name="T20" fmla="*/ 7 w 149"/>
                <a:gd name="T21" fmla="*/ 77 h 144"/>
                <a:gd name="T22" fmla="*/ 4 w 149"/>
                <a:gd name="T23" fmla="*/ 94 h 144"/>
                <a:gd name="T24" fmla="*/ 1 w 149"/>
                <a:gd name="T25" fmla="*/ 100 h 144"/>
                <a:gd name="T26" fmla="*/ 3 w 149"/>
                <a:gd name="T27" fmla="*/ 105 h 144"/>
                <a:gd name="T28" fmla="*/ 17 w 149"/>
                <a:gd name="T29" fmla="*/ 121 h 144"/>
                <a:gd name="T30" fmla="*/ 27 w 149"/>
                <a:gd name="T31" fmla="*/ 134 h 144"/>
                <a:gd name="T32" fmla="*/ 35 w 149"/>
                <a:gd name="T33" fmla="*/ 143 h 144"/>
                <a:gd name="T34" fmla="*/ 38 w 149"/>
                <a:gd name="T35" fmla="*/ 136 h 144"/>
                <a:gd name="T36" fmla="*/ 47 w 149"/>
                <a:gd name="T37" fmla="*/ 132 h 144"/>
                <a:gd name="T38" fmla="*/ 53 w 149"/>
                <a:gd name="T39" fmla="*/ 129 h 144"/>
                <a:gd name="T40" fmla="*/ 57 w 149"/>
                <a:gd name="T41" fmla="*/ 127 h 144"/>
                <a:gd name="T42" fmla="*/ 58 w 149"/>
                <a:gd name="T43" fmla="*/ 125 h 144"/>
                <a:gd name="T44" fmla="*/ 72 w 149"/>
                <a:gd name="T45" fmla="*/ 110 h 144"/>
                <a:gd name="T46" fmla="*/ 79 w 149"/>
                <a:gd name="T47" fmla="*/ 101 h 144"/>
                <a:gd name="T48" fmla="*/ 83 w 149"/>
                <a:gd name="T49" fmla="*/ 87 h 144"/>
                <a:gd name="T50" fmla="*/ 85 w 149"/>
                <a:gd name="T51" fmla="*/ 86 h 144"/>
                <a:gd name="T52" fmla="*/ 89 w 149"/>
                <a:gd name="T53" fmla="*/ 89 h 144"/>
                <a:gd name="T54" fmla="*/ 90 w 149"/>
                <a:gd name="T55" fmla="*/ 94 h 144"/>
                <a:gd name="T56" fmla="*/ 96 w 149"/>
                <a:gd name="T57" fmla="*/ 94 h 144"/>
                <a:gd name="T58" fmla="*/ 103 w 149"/>
                <a:gd name="T59" fmla="*/ 103 h 144"/>
                <a:gd name="T60" fmla="*/ 117 w 149"/>
                <a:gd name="T61" fmla="*/ 109 h 144"/>
                <a:gd name="T62" fmla="*/ 123 w 149"/>
                <a:gd name="T63" fmla="*/ 111 h 144"/>
                <a:gd name="T64" fmla="*/ 134 w 149"/>
                <a:gd name="T65" fmla="*/ 112 h 144"/>
                <a:gd name="T66" fmla="*/ 146 w 149"/>
                <a:gd name="T67" fmla="*/ 108 h 144"/>
                <a:gd name="T68" fmla="*/ 148 w 149"/>
                <a:gd name="T69" fmla="*/ 100 h 144"/>
                <a:gd name="T70" fmla="*/ 144 w 149"/>
                <a:gd name="T71" fmla="*/ 94 h 144"/>
                <a:gd name="T72" fmla="*/ 92 w 149"/>
                <a:gd name="T73" fmla="*/ 70 h 144"/>
                <a:gd name="T74" fmla="*/ 101 w 149"/>
                <a:gd name="T75" fmla="*/ 69 h 144"/>
                <a:gd name="T76" fmla="*/ 99 w 149"/>
                <a:gd name="T77" fmla="*/ 74 h 144"/>
                <a:gd name="T78" fmla="*/ 94 w 149"/>
                <a:gd name="T79" fmla="*/ 79 h 144"/>
                <a:gd name="T80" fmla="*/ 90 w 149"/>
                <a:gd name="T81" fmla="*/ 76 h 144"/>
                <a:gd name="T82" fmla="*/ 92 w 149"/>
                <a:gd name="T83" fmla="*/ 70 h 144"/>
                <a:gd name="T84" fmla="*/ 106 w 149"/>
                <a:gd name="T85" fmla="*/ 81 h 144"/>
                <a:gd name="T86" fmla="*/ 103 w 149"/>
                <a:gd name="T87" fmla="*/ 85 h 144"/>
                <a:gd name="T88" fmla="*/ 106 w 149"/>
                <a:gd name="T89" fmla="*/ 8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44">
                  <a:moveTo>
                    <a:pt x="144" y="94"/>
                  </a:moveTo>
                  <a:cubicBezTo>
                    <a:pt x="144" y="94"/>
                    <a:pt x="134" y="77"/>
                    <a:pt x="132" y="74"/>
                  </a:cubicBezTo>
                  <a:cubicBezTo>
                    <a:pt x="129" y="70"/>
                    <a:pt x="129" y="73"/>
                    <a:pt x="128" y="71"/>
                  </a:cubicBezTo>
                  <a:cubicBezTo>
                    <a:pt x="127" y="70"/>
                    <a:pt x="125" y="67"/>
                    <a:pt x="123" y="65"/>
                  </a:cubicBezTo>
                  <a:cubicBezTo>
                    <a:pt x="120" y="64"/>
                    <a:pt x="119" y="65"/>
                    <a:pt x="116" y="64"/>
                  </a:cubicBezTo>
                  <a:cubicBezTo>
                    <a:pt x="114" y="64"/>
                    <a:pt x="116" y="63"/>
                    <a:pt x="112" y="62"/>
                  </a:cubicBezTo>
                  <a:cubicBezTo>
                    <a:pt x="109" y="61"/>
                    <a:pt x="108" y="55"/>
                    <a:pt x="105" y="51"/>
                  </a:cubicBezTo>
                  <a:cubicBezTo>
                    <a:pt x="102" y="47"/>
                    <a:pt x="104" y="30"/>
                    <a:pt x="82" y="15"/>
                  </a:cubicBezTo>
                  <a:cubicBezTo>
                    <a:pt x="59" y="0"/>
                    <a:pt x="39" y="3"/>
                    <a:pt x="27" y="12"/>
                  </a:cubicBezTo>
                  <a:cubicBezTo>
                    <a:pt x="14" y="22"/>
                    <a:pt x="9" y="44"/>
                    <a:pt x="8" y="48"/>
                  </a:cubicBezTo>
                  <a:cubicBezTo>
                    <a:pt x="7" y="52"/>
                    <a:pt x="7" y="63"/>
                    <a:pt x="7" y="77"/>
                  </a:cubicBezTo>
                  <a:cubicBezTo>
                    <a:pt x="8" y="91"/>
                    <a:pt x="4" y="94"/>
                    <a:pt x="4" y="94"/>
                  </a:cubicBezTo>
                  <a:cubicBezTo>
                    <a:pt x="4" y="94"/>
                    <a:pt x="2" y="100"/>
                    <a:pt x="1" y="100"/>
                  </a:cubicBezTo>
                  <a:cubicBezTo>
                    <a:pt x="1" y="101"/>
                    <a:pt x="0" y="102"/>
                    <a:pt x="3" y="105"/>
                  </a:cubicBezTo>
                  <a:cubicBezTo>
                    <a:pt x="6" y="108"/>
                    <a:pt x="15" y="120"/>
                    <a:pt x="17" y="121"/>
                  </a:cubicBezTo>
                  <a:cubicBezTo>
                    <a:pt x="18" y="123"/>
                    <a:pt x="26" y="133"/>
                    <a:pt x="27" y="134"/>
                  </a:cubicBezTo>
                  <a:cubicBezTo>
                    <a:pt x="27" y="135"/>
                    <a:pt x="35" y="142"/>
                    <a:pt x="35" y="143"/>
                  </a:cubicBezTo>
                  <a:cubicBezTo>
                    <a:pt x="36" y="144"/>
                    <a:pt x="37" y="138"/>
                    <a:pt x="38" y="136"/>
                  </a:cubicBezTo>
                  <a:cubicBezTo>
                    <a:pt x="40" y="135"/>
                    <a:pt x="45" y="132"/>
                    <a:pt x="47" y="132"/>
                  </a:cubicBezTo>
                  <a:cubicBezTo>
                    <a:pt x="49" y="132"/>
                    <a:pt x="52" y="130"/>
                    <a:pt x="53" y="129"/>
                  </a:cubicBezTo>
                  <a:cubicBezTo>
                    <a:pt x="54" y="129"/>
                    <a:pt x="57" y="128"/>
                    <a:pt x="57" y="127"/>
                  </a:cubicBezTo>
                  <a:cubicBezTo>
                    <a:pt x="58" y="126"/>
                    <a:pt x="58" y="125"/>
                    <a:pt x="58" y="125"/>
                  </a:cubicBezTo>
                  <a:cubicBezTo>
                    <a:pt x="58" y="125"/>
                    <a:pt x="71" y="114"/>
                    <a:pt x="72" y="110"/>
                  </a:cubicBezTo>
                  <a:cubicBezTo>
                    <a:pt x="73" y="106"/>
                    <a:pt x="77" y="104"/>
                    <a:pt x="79" y="101"/>
                  </a:cubicBezTo>
                  <a:cubicBezTo>
                    <a:pt x="81" y="99"/>
                    <a:pt x="83" y="88"/>
                    <a:pt x="83" y="87"/>
                  </a:cubicBezTo>
                  <a:cubicBezTo>
                    <a:pt x="83" y="86"/>
                    <a:pt x="85" y="86"/>
                    <a:pt x="85" y="86"/>
                  </a:cubicBezTo>
                  <a:cubicBezTo>
                    <a:pt x="89" y="89"/>
                    <a:pt x="89" y="89"/>
                    <a:pt x="89" y="89"/>
                  </a:cubicBezTo>
                  <a:cubicBezTo>
                    <a:pt x="89" y="89"/>
                    <a:pt x="86" y="93"/>
                    <a:pt x="90" y="94"/>
                  </a:cubicBezTo>
                  <a:cubicBezTo>
                    <a:pt x="94" y="96"/>
                    <a:pt x="96" y="94"/>
                    <a:pt x="96" y="94"/>
                  </a:cubicBezTo>
                  <a:cubicBezTo>
                    <a:pt x="96" y="94"/>
                    <a:pt x="98" y="100"/>
                    <a:pt x="103" y="103"/>
                  </a:cubicBezTo>
                  <a:cubicBezTo>
                    <a:pt x="108" y="106"/>
                    <a:pt x="117" y="109"/>
                    <a:pt x="117" y="109"/>
                  </a:cubicBezTo>
                  <a:cubicBezTo>
                    <a:pt x="117" y="109"/>
                    <a:pt x="118" y="110"/>
                    <a:pt x="123" y="111"/>
                  </a:cubicBezTo>
                  <a:cubicBezTo>
                    <a:pt x="128" y="112"/>
                    <a:pt x="131" y="113"/>
                    <a:pt x="134" y="112"/>
                  </a:cubicBezTo>
                  <a:cubicBezTo>
                    <a:pt x="137" y="110"/>
                    <a:pt x="143" y="108"/>
                    <a:pt x="146" y="108"/>
                  </a:cubicBezTo>
                  <a:cubicBezTo>
                    <a:pt x="148" y="108"/>
                    <a:pt x="149" y="101"/>
                    <a:pt x="148" y="100"/>
                  </a:cubicBezTo>
                  <a:cubicBezTo>
                    <a:pt x="148" y="99"/>
                    <a:pt x="144" y="96"/>
                    <a:pt x="144" y="94"/>
                  </a:cubicBezTo>
                  <a:close/>
                  <a:moveTo>
                    <a:pt x="92" y="70"/>
                  </a:moveTo>
                  <a:cubicBezTo>
                    <a:pt x="92" y="70"/>
                    <a:pt x="99" y="69"/>
                    <a:pt x="101" y="69"/>
                  </a:cubicBezTo>
                  <a:cubicBezTo>
                    <a:pt x="104" y="69"/>
                    <a:pt x="102" y="71"/>
                    <a:pt x="99" y="74"/>
                  </a:cubicBezTo>
                  <a:cubicBezTo>
                    <a:pt x="97" y="76"/>
                    <a:pt x="94" y="80"/>
                    <a:pt x="94" y="79"/>
                  </a:cubicBezTo>
                  <a:cubicBezTo>
                    <a:pt x="93" y="78"/>
                    <a:pt x="90" y="76"/>
                    <a:pt x="90" y="76"/>
                  </a:cubicBezTo>
                  <a:cubicBezTo>
                    <a:pt x="92" y="70"/>
                    <a:pt x="92" y="70"/>
                    <a:pt x="92" y="70"/>
                  </a:cubicBezTo>
                  <a:close/>
                  <a:moveTo>
                    <a:pt x="106" y="81"/>
                  </a:moveTo>
                  <a:cubicBezTo>
                    <a:pt x="106" y="81"/>
                    <a:pt x="103" y="85"/>
                    <a:pt x="103" y="85"/>
                  </a:cubicBezTo>
                  <a:cubicBezTo>
                    <a:pt x="102" y="85"/>
                    <a:pt x="102" y="84"/>
                    <a:pt x="106" y="81"/>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1"/>
            <p:cNvSpPr>
              <a:spLocks/>
            </p:cNvSpPr>
            <p:nvPr/>
          </p:nvSpPr>
          <p:spPr bwMode="auto">
            <a:xfrm>
              <a:off x="3430588" y="2109788"/>
              <a:ext cx="207963" cy="193675"/>
            </a:xfrm>
            <a:custGeom>
              <a:avLst/>
              <a:gdLst>
                <a:gd name="T0" fmla="*/ 98 w 98"/>
                <a:gd name="T1" fmla="*/ 50 h 91"/>
                <a:gd name="T2" fmla="*/ 76 w 98"/>
                <a:gd name="T3" fmla="*/ 15 h 91"/>
                <a:gd name="T4" fmla="*/ 21 w 98"/>
                <a:gd name="T5" fmla="*/ 12 h 91"/>
                <a:gd name="T6" fmla="*/ 2 w 98"/>
                <a:gd name="T7" fmla="*/ 48 h 91"/>
                <a:gd name="T8" fmla="*/ 1 w 98"/>
                <a:gd name="T9" fmla="*/ 77 h 91"/>
                <a:gd name="T10" fmla="*/ 0 w 98"/>
                <a:gd name="T11" fmla="*/ 91 h 91"/>
                <a:gd name="T12" fmla="*/ 6 w 98"/>
                <a:gd name="T13" fmla="*/ 86 h 91"/>
                <a:gd name="T14" fmla="*/ 2 w 98"/>
                <a:gd name="T15" fmla="*/ 58 h 91"/>
                <a:gd name="T16" fmla="*/ 10 w 98"/>
                <a:gd name="T17" fmla="*/ 46 h 91"/>
                <a:gd name="T18" fmla="*/ 18 w 98"/>
                <a:gd name="T19" fmla="*/ 53 h 91"/>
                <a:gd name="T20" fmla="*/ 20 w 98"/>
                <a:gd name="T21" fmla="*/ 66 h 91"/>
                <a:gd name="T22" fmla="*/ 21 w 98"/>
                <a:gd name="T23" fmla="*/ 71 h 91"/>
                <a:gd name="T24" fmla="*/ 32 w 98"/>
                <a:gd name="T25" fmla="*/ 57 h 91"/>
                <a:gd name="T26" fmla="*/ 42 w 98"/>
                <a:gd name="T27" fmla="*/ 53 h 91"/>
                <a:gd name="T28" fmla="*/ 49 w 98"/>
                <a:gd name="T29" fmla="*/ 49 h 91"/>
                <a:gd name="T30" fmla="*/ 54 w 98"/>
                <a:gd name="T31" fmla="*/ 40 h 91"/>
                <a:gd name="T32" fmla="*/ 62 w 98"/>
                <a:gd name="T33" fmla="*/ 41 h 91"/>
                <a:gd name="T34" fmla="*/ 57 w 98"/>
                <a:gd name="T35" fmla="*/ 48 h 91"/>
                <a:gd name="T36" fmla="*/ 65 w 98"/>
                <a:gd name="T37" fmla="*/ 46 h 91"/>
                <a:gd name="T38" fmla="*/ 66 w 98"/>
                <a:gd name="T39" fmla="*/ 52 h 91"/>
                <a:gd name="T40" fmla="*/ 71 w 98"/>
                <a:gd name="T41" fmla="*/ 53 h 91"/>
                <a:gd name="T42" fmla="*/ 72 w 98"/>
                <a:gd name="T43" fmla="*/ 55 h 91"/>
                <a:gd name="T44" fmla="*/ 76 w 98"/>
                <a:gd name="T45" fmla="*/ 56 h 91"/>
                <a:gd name="T46" fmla="*/ 76 w 98"/>
                <a:gd name="T47" fmla="*/ 59 h 91"/>
                <a:gd name="T48" fmla="*/ 81 w 98"/>
                <a:gd name="T49" fmla="*/ 58 h 91"/>
                <a:gd name="T50" fmla="*/ 83 w 98"/>
                <a:gd name="T51" fmla="*/ 61 h 91"/>
                <a:gd name="T52" fmla="*/ 87 w 98"/>
                <a:gd name="T53" fmla="*/ 62 h 91"/>
                <a:gd name="T54" fmla="*/ 94 w 98"/>
                <a:gd name="T55" fmla="*/ 62 h 91"/>
                <a:gd name="T56" fmla="*/ 95 w 98"/>
                <a:gd name="T57" fmla="*/ 56 h 91"/>
                <a:gd name="T58" fmla="*/ 98 w 98"/>
                <a:gd name="T59" fmla="*/ 5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91">
                  <a:moveTo>
                    <a:pt x="98" y="50"/>
                  </a:moveTo>
                  <a:cubicBezTo>
                    <a:pt x="96" y="44"/>
                    <a:pt x="96" y="28"/>
                    <a:pt x="76" y="15"/>
                  </a:cubicBezTo>
                  <a:cubicBezTo>
                    <a:pt x="53" y="0"/>
                    <a:pt x="33" y="3"/>
                    <a:pt x="21" y="12"/>
                  </a:cubicBezTo>
                  <a:cubicBezTo>
                    <a:pt x="8" y="22"/>
                    <a:pt x="3" y="44"/>
                    <a:pt x="2" y="48"/>
                  </a:cubicBezTo>
                  <a:cubicBezTo>
                    <a:pt x="1" y="52"/>
                    <a:pt x="1" y="63"/>
                    <a:pt x="1" y="77"/>
                  </a:cubicBezTo>
                  <a:cubicBezTo>
                    <a:pt x="1" y="83"/>
                    <a:pt x="1" y="88"/>
                    <a:pt x="0" y="91"/>
                  </a:cubicBezTo>
                  <a:cubicBezTo>
                    <a:pt x="0" y="91"/>
                    <a:pt x="5" y="90"/>
                    <a:pt x="6" y="86"/>
                  </a:cubicBezTo>
                  <a:cubicBezTo>
                    <a:pt x="7" y="81"/>
                    <a:pt x="0" y="70"/>
                    <a:pt x="2" y="58"/>
                  </a:cubicBezTo>
                  <a:cubicBezTo>
                    <a:pt x="5" y="46"/>
                    <a:pt x="8" y="45"/>
                    <a:pt x="10" y="46"/>
                  </a:cubicBezTo>
                  <a:cubicBezTo>
                    <a:pt x="12" y="46"/>
                    <a:pt x="17" y="48"/>
                    <a:pt x="18" y="53"/>
                  </a:cubicBezTo>
                  <a:cubicBezTo>
                    <a:pt x="20" y="58"/>
                    <a:pt x="21" y="64"/>
                    <a:pt x="20" y="66"/>
                  </a:cubicBezTo>
                  <a:cubicBezTo>
                    <a:pt x="19" y="68"/>
                    <a:pt x="19" y="72"/>
                    <a:pt x="21" y="71"/>
                  </a:cubicBezTo>
                  <a:cubicBezTo>
                    <a:pt x="24" y="70"/>
                    <a:pt x="28" y="60"/>
                    <a:pt x="32" y="57"/>
                  </a:cubicBezTo>
                  <a:cubicBezTo>
                    <a:pt x="35" y="54"/>
                    <a:pt x="39" y="53"/>
                    <a:pt x="42" y="53"/>
                  </a:cubicBezTo>
                  <a:cubicBezTo>
                    <a:pt x="46" y="53"/>
                    <a:pt x="49" y="53"/>
                    <a:pt x="49" y="49"/>
                  </a:cubicBezTo>
                  <a:cubicBezTo>
                    <a:pt x="49" y="46"/>
                    <a:pt x="52" y="41"/>
                    <a:pt x="54" y="40"/>
                  </a:cubicBezTo>
                  <a:cubicBezTo>
                    <a:pt x="56" y="40"/>
                    <a:pt x="60" y="42"/>
                    <a:pt x="62" y="41"/>
                  </a:cubicBezTo>
                  <a:cubicBezTo>
                    <a:pt x="63" y="40"/>
                    <a:pt x="52" y="49"/>
                    <a:pt x="57" y="48"/>
                  </a:cubicBezTo>
                  <a:cubicBezTo>
                    <a:pt x="61" y="46"/>
                    <a:pt x="67" y="43"/>
                    <a:pt x="65" y="46"/>
                  </a:cubicBezTo>
                  <a:cubicBezTo>
                    <a:pt x="63" y="50"/>
                    <a:pt x="60" y="55"/>
                    <a:pt x="66" y="52"/>
                  </a:cubicBezTo>
                  <a:cubicBezTo>
                    <a:pt x="72" y="48"/>
                    <a:pt x="72" y="50"/>
                    <a:pt x="71" y="53"/>
                  </a:cubicBezTo>
                  <a:cubicBezTo>
                    <a:pt x="70" y="55"/>
                    <a:pt x="69" y="58"/>
                    <a:pt x="72" y="55"/>
                  </a:cubicBezTo>
                  <a:cubicBezTo>
                    <a:pt x="76" y="52"/>
                    <a:pt x="78" y="52"/>
                    <a:pt x="76" y="56"/>
                  </a:cubicBezTo>
                  <a:cubicBezTo>
                    <a:pt x="74" y="59"/>
                    <a:pt x="73" y="61"/>
                    <a:pt x="76" y="59"/>
                  </a:cubicBezTo>
                  <a:cubicBezTo>
                    <a:pt x="79" y="56"/>
                    <a:pt x="81" y="57"/>
                    <a:pt x="81" y="58"/>
                  </a:cubicBezTo>
                  <a:cubicBezTo>
                    <a:pt x="81" y="60"/>
                    <a:pt x="80" y="63"/>
                    <a:pt x="83" y="61"/>
                  </a:cubicBezTo>
                  <a:cubicBezTo>
                    <a:pt x="87" y="59"/>
                    <a:pt x="87" y="61"/>
                    <a:pt x="87" y="62"/>
                  </a:cubicBezTo>
                  <a:cubicBezTo>
                    <a:pt x="88" y="62"/>
                    <a:pt x="93" y="63"/>
                    <a:pt x="94" y="62"/>
                  </a:cubicBezTo>
                  <a:cubicBezTo>
                    <a:pt x="96" y="61"/>
                    <a:pt x="96" y="57"/>
                    <a:pt x="95" y="56"/>
                  </a:cubicBezTo>
                  <a:cubicBezTo>
                    <a:pt x="94" y="55"/>
                    <a:pt x="95" y="49"/>
                    <a:pt x="98"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33"/>
            <p:cNvSpPr>
              <a:spLocks noEditPoints="1"/>
            </p:cNvSpPr>
            <p:nvPr/>
          </p:nvSpPr>
          <p:spPr bwMode="auto">
            <a:xfrm>
              <a:off x="3665538" y="2316163"/>
              <a:ext cx="77788" cy="34925"/>
            </a:xfrm>
            <a:custGeom>
              <a:avLst/>
              <a:gdLst>
                <a:gd name="T0" fmla="*/ 1 w 36"/>
                <a:gd name="T1" fmla="*/ 12 h 17"/>
                <a:gd name="T2" fmla="*/ 2 w 36"/>
                <a:gd name="T3" fmla="*/ 16 h 17"/>
                <a:gd name="T4" fmla="*/ 13 w 36"/>
                <a:gd name="T5" fmla="*/ 15 h 17"/>
                <a:gd name="T6" fmla="*/ 6 w 36"/>
                <a:gd name="T7" fmla="*/ 14 h 17"/>
                <a:gd name="T8" fmla="*/ 1 w 36"/>
                <a:gd name="T9" fmla="*/ 12 h 17"/>
                <a:gd name="T10" fmla="*/ 18 w 36"/>
                <a:gd name="T11" fmla="*/ 14 h 17"/>
                <a:gd name="T12" fmla="*/ 25 w 36"/>
                <a:gd name="T13" fmla="*/ 15 h 17"/>
                <a:gd name="T14" fmla="*/ 35 w 36"/>
                <a:gd name="T15" fmla="*/ 11 h 17"/>
                <a:gd name="T16" fmla="*/ 29 w 36"/>
                <a:gd name="T17" fmla="*/ 0 h 17"/>
                <a:gd name="T18" fmla="*/ 29 w 36"/>
                <a:gd name="T19" fmla="*/ 0 h 17"/>
                <a:gd name="T20" fmla="*/ 31 w 36"/>
                <a:gd name="T21" fmla="*/ 3 h 17"/>
                <a:gd name="T22" fmla="*/ 29 w 36"/>
                <a:gd name="T23" fmla="*/ 11 h 17"/>
                <a:gd name="T24" fmla="*/ 18 w 36"/>
                <a:gd name="T2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17">
                  <a:moveTo>
                    <a:pt x="1" y="12"/>
                  </a:moveTo>
                  <a:cubicBezTo>
                    <a:pt x="0" y="14"/>
                    <a:pt x="0" y="15"/>
                    <a:pt x="2" y="16"/>
                  </a:cubicBezTo>
                  <a:cubicBezTo>
                    <a:pt x="4" y="17"/>
                    <a:pt x="9" y="16"/>
                    <a:pt x="13" y="15"/>
                  </a:cubicBezTo>
                  <a:cubicBezTo>
                    <a:pt x="11" y="15"/>
                    <a:pt x="9" y="14"/>
                    <a:pt x="6" y="14"/>
                  </a:cubicBezTo>
                  <a:cubicBezTo>
                    <a:pt x="3" y="13"/>
                    <a:pt x="2" y="13"/>
                    <a:pt x="1" y="12"/>
                  </a:cubicBezTo>
                  <a:close/>
                  <a:moveTo>
                    <a:pt x="18" y="14"/>
                  </a:moveTo>
                  <a:cubicBezTo>
                    <a:pt x="20" y="15"/>
                    <a:pt x="22" y="15"/>
                    <a:pt x="25" y="15"/>
                  </a:cubicBezTo>
                  <a:cubicBezTo>
                    <a:pt x="30" y="15"/>
                    <a:pt x="34" y="12"/>
                    <a:pt x="35" y="11"/>
                  </a:cubicBezTo>
                  <a:cubicBezTo>
                    <a:pt x="36" y="9"/>
                    <a:pt x="35" y="1"/>
                    <a:pt x="29" y="0"/>
                  </a:cubicBezTo>
                  <a:cubicBezTo>
                    <a:pt x="29" y="0"/>
                    <a:pt x="29" y="0"/>
                    <a:pt x="29" y="0"/>
                  </a:cubicBezTo>
                  <a:cubicBezTo>
                    <a:pt x="30" y="1"/>
                    <a:pt x="31" y="2"/>
                    <a:pt x="31" y="3"/>
                  </a:cubicBezTo>
                  <a:cubicBezTo>
                    <a:pt x="32" y="4"/>
                    <a:pt x="31" y="11"/>
                    <a:pt x="29" y="11"/>
                  </a:cubicBezTo>
                  <a:cubicBezTo>
                    <a:pt x="26" y="11"/>
                    <a:pt x="21" y="13"/>
                    <a:pt x="18" y="14"/>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34"/>
            <p:cNvSpPr>
              <a:spLocks/>
            </p:cNvSpPr>
            <p:nvPr/>
          </p:nvSpPr>
          <p:spPr bwMode="auto">
            <a:xfrm>
              <a:off x="3511550" y="2493963"/>
              <a:ext cx="322263" cy="146050"/>
            </a:xfrm>
            <a:custGeom>
              <a:avLst/>
              <a:gdLst>
                <a:gd name="T0" fmla="*/ 6 w 152"/>
                <a:gd name="T1" fmla="*/ 53 h 69"/>
                <a:gd name="T2" fmla="*/ 16 w 152"/>
                <a:gd name="T3" fmla="*/ 50 h 69"/>
                <a:gd name="T4" fmla="*/ 75 w 152"/>
                <a:gd name="T5" fmla="*/ 10 h 69"/>
                <a:gd name="T6" fmla="*/ 89 w 152"/>
                <a:gd name="T7" fmla="*/ 0 h 69"/>
                <a:gd name="T8" fmla="*/ 152 w 152"/>
                <a:gd name="T9" fmla="*/ 19 h 69"/>
                <a:gd name="T10" fmla="*/ 152 w 152"/>
                <a:gd name="T11" fmla="*/ 23 h 69"/>
                <a:gd name="T12" fmla="*/ 117 w 152"/>
                <a:gd name="T13" fmla="*/ 41 h 69"/>
                <a:gd name="T14" fmla="*/ 49 w 152"/>
                <a:gd name="T15" fmla="*/ 69 h 69"/>
                <a:gd name="T16" fmla="*/ 6 w 152"/>
                <a:gd name="T17"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69">
                  <a:moveTo>
                    <a:pt x="6" y="53"/>
                  </a:moveTo>
                  <a:cubicBezTo>
                    <a:pt x="9" y="52"/>
                    <a:pt x="12" y="51"/>
                    <a:pt x="16" y="50"/>
                  </a:cubicBezTo>
                  <a:cubicBezTo>
                    <a:pt x="16" y="50"/>
                    <a:pt x="70" y="14"/>
                    <a:pt x="75" y="10"/>
                  </a:cubicBezTo>
                  <a:cubicBezTo>
                    <a:pt x="80" y="7"/>
                    <a:pt x="89" y="0"/>
                    <a:pt x="89" y="0"/>
                  </a:cubicBezTo>
                  <a:cubicBezTo>
                    <a:pt x="89" y="0"/>
                    <a:pt x="129" y="17"/>
                    <a:pt x="152" y="19"/>
                  </a:cubicBezTo>
                  <a:cubicBezTo>
                    <a:pt x="152" y="23"/>
                    <a:pt x="152" y="23"/>
                    <a:pt x="152" y="23"/>
                  </a:cubicBezTo>
                  <a:cubicBezTo>
                    <a:pt x="140" y="29"/>
                    <a:pt x="128" y="35"/>
                    <a:pt x="117" y="41"/>
                  </a:cubicBezTo>
                  <a:cubicBezTo>
                    <a:pt x="94" y="50"/>
                    <a:pt x="72" y="59"/>
                    <a:pt x="49" y="69"/>
                  </a:cubicBezTo>
                  <a:cubicBezTo>
                    <a:pt x="49" y="69"/>
                    <a:pt x="0" y="61"/>
                    <a:pt x="6" y="53"/>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35"/>
            <p:cNvSpPr>
              <a:spLocks noEditPoints="1"/>
            </p:cNvSpPr>
            <p:nvPr/>
          </p:nvSpPr>
          <p:spPr bwMode="auto">
            <a:xfrm>
              <a:off x="3509963" y="2493963"/>
              <a:ext cx="323850" cy="146050"/>
            </a:xfrm>
            <a:custGeom>
              <a:avLst/>
              <a:gdLst>
                <a:gd name="T0" fmla="*/ 6 w 153"/>
                <a:gd name="T1" fmla="*/ 52 h 69"/>
                <a:gd name="T2" fmla="*/ 16 w 153"/>
                <a:gd name="T3" fmla="*/ 49 h 69"/>
                <a:gd name="T4" fmla="*/ 76 w 153"/>
                <a:gd name="T5" fmla="*/ 10 h 69"/>
                <a:gd name="T6" fmla="*/ 90 w 153"/>
                <a:gd name="T7" fmla="*/ 0 h 69"/>
                <a:gd name="T8" fmla="*/ 90 w 153"/>
                <a:gd name="T9" fmla="*/ 0 h 69"/>
                <a:gd name="T10" fmla="*/ 91 w 153"/>
                <a:gd name="T11" fmla="*/ 0 h 69"/>
                <a:gd name="T12" fmla="*/ 153 w 153"/>
                <a:gd name="T13" fmla="*/ 18 h 69"/>
                <a:gd name="T14" fmla="*/ 153 w 153"/>
                <a:gd name="T15" fmla="*/ 18 h 69"/>
                <a:gd name="T16" fmla="*/ 153 w 153"/>
                <a:gd name="T17" fmla="*/ 19 h 69"/>
                <a:gd name="T18" fmla="*/ 153 w 153"/>
                <a:gd name="T19" fmla="*/ 23 h 69"/>
                <a:gd name="T20" fmla="*/ 153 w 153"/>
                <a:gd name="T21" fmla="*/ 23 h 69"/>
                <a:gd name="T22" fmla="*/ 153 w 153"/>
                <a:gd name="T23" fmla="*/ 24 h 69"/>
                <a:gd name="T24" fmla="*/ 118 w 153"/>
                <a:gd name="T25" fmla="*/ 41 h 69"/>
                <a:gd name="T26" fmla="*/ 118 w 153"/>
                <a:gd name="T27" fmla="*/ 41 h 69"/>
                <a:gd name="T28" fmla="*/ 50 w 153"/>
                <a:gd name="T29" fmla="*/ 69 h 69"/>
                <a:gd name="T30" fmla="*/ 50 w 153"/>
                <a:gd name="T31" fmla="*/ 69 h 69"/>
                <a:gd name="T32" fmla="*/ 50 w 153"/>
                <a:gd name="T33" fmla="*/ 69 h 69"/>
                <a:gd name="T34" fmla="*/ 6 w 153"/>
                <a:gd name="T35" fmla="*/ 53 h 69"/>
                <a:gd name="T36" fmla="*/ 6 w 153"/>
                <a:gd name="T37" fmla="*/ 52 h 69"/>
                <a:gd name="T38" fmla="*/ 6 w 153"/>
                <a:gd name="T39" fmla="*/ 52 h 69"/>
                <a:gd name="T40" fmla="*/ 17 w 153"/>
                <a:gd name="T41" fmla="*/ 50 h 69"/>
                <a:gd name="T42" fmla="*/ 7 w 153"/>
                <a:gd name="T43" fmla="*/ 53 h 69"/>
                <a:gd name="T44" fmla="*/ 50 w 153"/>
                <a:gd name="T45" fmla="*/ 68 h 69"/>
                <a:gd name="T46" fmla="*/ 118 w 153"/>
                <a:gd name="T47" fmla="*/ 41 h 69"/>
                <a:gd name="T48" fmla="*/ 152 w 153"/>
                <a:gd name="T49" fmla="*/ 23 h 69"/>
                <a:gd name="T50" fmla="*/ 152 w 153"/>
                <a:gd name="T51" fmla="*/ 19 h 69"/>
                <a:gd name="T52" fmla="*/ 91 w 153"/>
                <a:gd name="T53" fmla="*/ 1 h 69"/>
                <a:gd name="T54" fmla="*/ 76 w 153"/>
                <a:gd name="T55" fmla="*/ 11 h 69"/>
                <a:gd name="T56" fmla="*/ 17 w 153"/>
                <a:gd name="T57" fmla="*/ 50 h 69"/>
                <a:gd name="T58" fmla="*/ 17 w 153"/>
                <a:gd name="T59"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69">
                  <a:moveTo>
                    <a:pt x="6" y="52"/>
                  </a:moveTo>
                  <a:cubicBezTo>
                    <a:pt x="16" y="49"/>
                    <a:pt x="16" y="49"/>
                    <a:pt x="16" y="49"/>
                  </a:cubicBezTo>
                  <a:cubicBezTo>
                    <a:pt x="18" y="48"/>
                    <a:pt x="71" y="14"/>
                    <a:pt x="76" y="10"/>
                  </a:cubicBezTo>
                  <a:cubicBezTo>
                    <a:pt x="80" y="7"/>
                    <a:pt x="90" y="0"/>
                    <a:pt x="90" y="0"/>
                  </a:cubicBezTo>
                  <a:cubicBezTo>
                    <a:pt x="90" y="0"/>
                    <a:pt x="90" y="0"/>
                    <a:pt x="90" y="0"/>
                  </a:cubicBezTo>
                  <a:cubicBezTo>
                    <a:pt x="91" y="0"/>
                    <a:pt x="91" y="0"/>
                    <a:pt x="91" y="0"/>
                  </a:cubicBezTo>
                  <a:cubicBezTo>
                    <a:pt x="91" y="0"/>
                    <a:pt x="130" y="16"/>
                    <a:pt x="153" y="18"/>
                  </a:cubicBezTo>
                  <a:cubicBezTo>
                    <a:pt x="153" y="18"/>
                    <a:pt x="153" y="18"/>
                    <a:pt x="153" y="18"/>
                  </a:cubicBezTo>
                  <a:cubicBezTo>
                    <a:pt x="153" y="19"/>
                    <a:pt x="153" y="19"/>
                    <a:pt x="153" y="19"/>
                  </a:cubicBezTo>
                  <a:cubicBezTo>
                    <a:pt x="153" y="23"/>
                    <a:pt x="153" y="23"/>
                    <a:pt x="153" y="23"/>
                  </a:cubicBezTo>
                  <a:cubicBezTo>
                    <a:pt x="153" y="23"/>
                    <a:pt x="153" y="23"/>
                    <a:pt x="153" y="23"/>
                  </a:cubicBezTo>
                  <a:cubicBezTo>
                    <a:pt x="153" y="24"/>
                    <a:pt x="153" y="24"/>
                    <a:pt x="153" y="24"/>
                  </a:cubicBezTo>
                  <a:cubicBezTo>
                    <a:pt x="118" y="41"/>
                    <a:pt x="118" y="41"/>
                    <a:pt x="118" y="41"/>
                  </a:cubicBezTo>
                  <a:cubicBezTo>
                    <a:pt x="118" y="41"/>
                    <a:pt x="118" y="41"/>
                    <a:pt x="118" y="41"/>
                  </a:cubicBezTo>
                  <a:cubicBezTo>
                    <a:pt x="50" y="69"/>
                    <a:pt x="50" y="69"/>
                    <a:pt x="50" y="69"/>
                  </a:cubicBezTo>
                  <a:cubicBezTo>
                    <a:pt x="50" y="69"/>
                    <a:pt x="50" y="69"/>
                    <a:pt x="50" y="69"/>
                  </a:cubicBezTo>
                  <a:cubicBezTo>
                    <a:pt x="50" y="69"/>
                    <a:pt x="50" y="69"/>
                    <a:pt x="50" y="69"/>
                  </a:cubicBezTo>
                  <a:cubicBezTo>
                    <a:pt x="50" y="69"/>
                    <a:pt x="0" y="61"/>
                    <a:pt x="6" y="53"/>
                  </a:cubicBezTo>
                  <a:cubicBezTo>
                    <a:pt x="6" y="52"/>
                    <a:pt x="6" y="52"/>
                    <a:pt x="6" y="52"/>
                  </a:cubicBezTo>
                  <a:cubicBezTo>
                    <a:pt x="6" y="52"/>
                    <a:pt x="6" y="52"/>
                    <a:pt x="6" y="52"/>
                  </a:cubicBezTo>
                  <a:close/>
                  <a:moveTo>
                    <a:pt x="17" y="50"/>
                  </a:moveTo>
                  <a:cubicBezTo>
                    <a:pt x="7" y="53"/>
                    <a:pt x="7" y="53"/>
                    <a:pt x="7" y="53"/>
                  </a:cubicBezTo>
                  <a:cubicBezTo>
                    <a:pt x="2" y="60"/>
                    <a:pt x="48" y="68"/>
                    <a:pt x="50" y="68"/>
                  </a:cubicBezTo>
                  <a:cubicBezTo>
                    <a:pt x="118" y="41"/>
                    <a:pt x="118" y="41"/>
                    <a:pt x="118" y="41"/>
                  </a:cubicBezTo>
                  <a:cubicBezTo>
                    <a:pt x="152" y="23"/>
                    <a:pt x="152" y="23"/>
                    <a:pt x="152" y="23"/>
                  </a:cubicBezTo>
                  <a:cubicBezTo>
                    <a:pt x="152" y="19"/>
                    <a:pt x="152" y="19"/>
                    <a:pt x="152" y="19"/>
                  </a:cubicBezTo>
                  <a:cubicBezTo>
                    <a:pt x="131" y="17"/>
                    <a:pt x="93" y="2"/>
                    <a:pt x="91" y="1"/>
                  </a:cubicBezTo>
                  <a:cubicBezTo>
                    <a:pt x="89" y="1"/>
                    <a:pt x="80" y="7"/>
                    <a:pt x="76" y="11"/>
                  </a:cubicBezTo>
                  <a:cubicBezTo>
                    <a:pt x="71" y="14"/>
                    <a:pt x="17" y="50"/>
                    <a:pt x="17" y="50"/>
                  </a:cubicBezTo>
                  <a:cubicBezTo>
                    <a:pt x="17" y="50"/>
                    <a:pt x="17" y="50"/>
                    <a:pt x="17" y="50"/>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36"/>
            <p:cNvSpPr>
              <a:spLocks/>
            </p:cNvSpPr>
            <p:nvPr/>
          </p:nvSpPr>
          <p:spPr bwMode="auto">
            <a:xfrm>
              <a:off x="3530600" y="2514600"/>
              <a:ext cx="303213" cy="95250"/>
            </a:xfrm>
            <a:custGeom>
              <a:avLst/>
              <a:gdLst>
                <a:gd name="T0" fmla="*/ 0 w 191"/>
                <a:gd name="T1" fmla="*/ 59 h 60"/>
                <a:gd name="T2" fmla="*/ 110 w 191"/>
                <a:gd name="T3" fmla="*/ 0 h 60"/>
                <a:gd name="T4" fmla="*/ 191 w 191"/>
                <a:gd name="T5" fmla="*/ 12 h 60"/>
                <a:gd name="T6" fmla="*/ 191 w 191"/>
                <a:gd name="T7" fmla="*/ 17 h 60"/>
                <a:gd name="T8" fmla="*/ 111 w 191"/>
                <a:gd name="T9" fmla="*/ 7 h 60"/>
                <a:gd name="T10" fmla="*/ 8 w 191"/>
                <a:gd name="T11" fmla="*/ 60 h 60"/>
                <a:gd name="T12" fmla="*/ 0 w 191"/>
                <a:gd name="T13" fmla="*/ 59 h 60"/>
              </a:gdLst>
              <a:ahLst/>
              <a:cxnLst>
                <a:cxn ang="0">
                  <a:pos x="T0" y="T1"/>
                </a:cxn>
                <a:cxn ang="0">
                  <a:pos x="T2" y="T3"/>
                </a:cxn>
                <a:cxn ang="0">
                  <a:pos x="T4" y="T5"/>
                </a:cxn>
                <a:cxn ang="0">
                  <a:pos x="T6" y="T7"/>
                </a:cxn>
                <a:cxn ang="0">
                  <a:pos x="T8" y="T9"/>
                </a:cxn>
                <a:cxn ang="0">
                  <a:pos x="T10" y="T11"/>
                </a:cxn>
                <a:cxn ang="0">
                  <a:pos x="T12" y="T13"/>
                </a:cxn>
              </a:cxnLst>
              <a:rect l="0" t="0" r="r" b="b"/>
              <a:pathLst>
                <a:path w="191" h="60">
                  <a:moveTo>
                    <a:pt x="0" y="59"/>
                  </a:moveTo>
                  <a:lnTo>
                    <a:pt x="110" y="0"/>
                  </a:lnTo>
                  <a:lnTo>
                    <a:pt x="191" y="12"/>
                  </a:lnTo>
                  <a:lnTo>
                    <a:pt x="191" y="17"/>
                  </a:lnTo>
                  <a:lnTo>
                    <a:pt x="111" y="7"/>
                  </a:lnTo>
                  <a:lnTo>
                    <a:pt x="8" y="60"/>
                  </a:lnTo>
                  <a:lnTo>
                    <a:pt x="0" y="59"/>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37"/>
            <p:cNvSpPr>
              <a:spLocks noEditPoints="1"/>
            </p:cNvSpPr>
            <p:nvPr/>
          </p:nvSpPr>
          <p:spPr bwMode="auto">
            <a:xfrm>
              <a:off x="3530600" y="2513013"/>
              <a:ext cx="303213" cy="96838"/>
            </a:xfrm>
            <a:custGeom>
              <a:avLst/>
              <a:gdLst>
                <a:gd name="T0" fmla="*/ 0 w 191"/>
                <a:gd name="T1" fmla="*/ 60 h 61"/>
                <a:gd name="T2" fmla="*/ 110 w 191"/>
                <a:gd name="T3" fmla="*/ 0 h 61"/>
                <a:gd name="T4" fmla="*/ 110 w 191"/>
                <a:gd name="T5" fmla="*/ 0 h 61"/>
                <a:gd name="T6" fmla="*/ 110 w 191"/>
                <a:gd name="T7" fmla="*/ 0 h 61"/>
                <a:gd name="T8" fmla="*/ 191 w 191"/>
                <a:gd name="T9" fmla="*/ 12 h 61"/>
                <a:gd name="T10" fmla="*/ 191 w 191"/>
                <a:gd name="T11" fmla="*/ 12 h 61"/>
                <a:gd name="T12" fmla="*/ 191 w 191"/>
                <a:gd name="T13" fmla="*/ 13 h 61"/>
                <a:gd name="T14" fmla="*/ 191 w 191"/>
                <a:gd name="T15" fmla="*/ 18 h 61"/>
                <a:gd name="T16" fmla="*/ 111 w 191"/>
                <a:gd name="T17" fmla="*/ 9 h 61"/>
                <a:gd name="T18" fmla="*/ 8 w 191"/>
                <a:gd name="T19" fmla="*/ 61 h 61"/>
                <a:gd name="T20" fmla="*/ 8 w 191"/>
                <a:gd name="T21" fmla="*/ 61 h 61"/>
                <a:gd name="T22" fmla="*/ 8 w 191"/>
                <a:gd name="T23" fmla="*/ 61 h 61"/>
                <a:gd name="T24" fmla="*/ 0 w 191"/>
                <a:gd name="T25" fmla="*/ 60 h 61"/>
                <a:gd name="T26" fmla="*/ 0 w 191"/>
                <a:gd name="T27" fmla="*/ 60 h 61"/>
                <a:gd name="T28" fmla="*/ 0 w 191"/>
                <a:gd name="T29" fmla="*/ 60 h 61"/>
                <a:gd name="T30" fmla="*/ 110 w 191"/>
                <a:gd name="T31" fmla="*/ 1 h 61"/>
                <a:gd name="T32" fmla="*/ 1 w 191"/>
                <a:gd name="T33" fmla="*/ 60 h 61"/>
                <a:gd name="T34" fmla="*/ 8 w 191"/>
                <a:gd name="T35" fmla="*/ 61 h 61"/>
                <a:gd name="T36" fmla="*/ 111 w 191"/>
                <a:gd name="T37" fmla="*/ 8 h 61"/>
                <a:gd name="T38" fmla="*/ 111 w 191"/>
                <a:gd name="T39" fmla="*/ 8 h 61"/>
                <a:gd name="T40" fmla="*/ 111 w 191"/>
                <a:gd name="T41" fmla="*/ 8 h 61"/>
                <a:gd name="T42" fmla="*/ 190 w 191"/>
                <a:gd name="T43" fmla="*/ 18 h 61"/>
                <a:gd name="T44" fmla="*/ 190 w 191"/>
                <a:gd name="T45" fmla="*/ 13 h 61"/>
                <a:gd name="T46" fmla="*/ 110 w 191"/>
                <a:gd name="T47"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1" h="61">
                  <a:moveTo>
                    <a:pt x="0" y="60"/>
                  </a:moveTo>
                  <a:lnTo>
                    <a:pt x="110" y="0"/>
                  </a:lnTo>
                  <a:lnTo>
                    <a:pt x="110" y="0"/>
                  </a:lnTo>
                  <a:lnTo>
                    <a:pt x="110" y="0"/>
                  </a:lnTo>
                  <a:lnTo>
                    <a:pt x="191" y="12"/>
                  </a:lnTo>
                  <a:lnTo>
                    <a:pt x="191" y="12"/>
                  </a:lnTo>
                  <a:lnTo>
                    <a:pt x="191" y="13"/>
                  </a:lnTo>
                  <a:lnTo>
                    <a:pt x="191" y="18"/>
                  </a:lnTo>
                  <a:lnTo>
                    <a:pt x="111" y="9"/>
                  </a:lnTo>
                  <a:lnTo>
                    <a:pt x="8" y="61"/>
                  </a:lnTo>
                  <a:lnTo>
                    <a:pt x="8" y="61"/>
                  </a:lnTo>
                  <a:lnTo>
                    <a:pt x="8" y="61"/>
                  </a:lnTo>
                  <a:lnTo>
                    <a:pt x="0" y="60"/>
                  </a:lnTo>
                  <a:lnTo>
                    <a:pt x="0" y="60"/>
                  </a:lnTo>
                  <a:lnTo>
                    <a:pt x="0" y="60"/>
                  </a:lnTo>
                  <a:close/>
                  <a:moveTo>
                    <a:pt x="110" y="1"/>
                  </a:moveTo>
                  <a:lnTo>
                    <a:pt x="1" y="60"/>
                  </a:lnTo>
                  <a:lnTo>
                    <a:pt x="8" y="61"/>
                  </a:lnTo>
                  <a:lnTo>
                    <a:pt x="111" y="8"/>
                  </a:lnTo>
                  <a:lnTo>
                    <a:pt x="111" y="8"/>
                  </a:lnTo>
                  <a:lnTo>
                    <a:pt x="111" y="8"/>
                  </a:lnTo>
                  <a:lnTo>
                    <a:pt x="190" y="18"/>
                  </a:lnTo>
                  <a:lnTo>
                    <a:pt x="190" y="13"/>
                  </a:lnTo>
                  <a:lnTo>
                    <a:pt x="110" y="1"/>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38"/>
            <p:cNvSpPr>
              <a:spLocks/>
            </p:cNvSpPr>
            <p:nvPr/>
          </p:nvSpPr>
          <p:spPr bwMode="auto">
            <a:xfrm>
              <a:off x="3535363" y="2525713"/>
              <a:ext cx="298450" cy="114300"/>
            </a:xfrm>
            <a:custGeom>
              <a:avLst/>
              <a:gdLst>
                <a:gd name="T0" fmla="*/ 141 w 141"/>
                <a:gd name="T1" fmla="*/ 8 h 54"/>
                <a:gd name="T2" fmla="*/ 106 w 141"/>
                <a:gd name="T3" fmla="*/ 26 h 54"/>
                <a:gd name="T4" fmla="*/ 38 w 141"/>
                <a:gd name="T5" fmla="*/ 54 h 54"/>
                <a:gd name="T6" fmla="*/ 2 w 141"/>
                <a:gd name="T7" fmla="*/ 45 h 54"/>
                <a:gd name="T8" fmla="*/ 1 w 141"/>
                <a:gd name="T9" fmla="*/ 42 h 54"/>
                <a:gd name="T10" fmla="*/ 4 w 141"/>
                <a:gd name="T11" fmla="*/ 40 h 54"/>
                <a:gd name="T12" fmla="*/ 81 w 141"/>
                <a:gd name="T13" fmla="*/ 0 h 54"/>
                <a:gd name="T14" fmla="*/ 141 w 141"/>
                <a:gd name="T15" fmla="*/ 8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4">
                  <a:moveTo>
                    <a:pt x="141" y="8"/>
                  </a:moveTo>
                  <a:cubicBezTo>
                    <a:pt x="129" y="14"/>
                    <a:pt x="117" y="20"/>
                    <a:pt x="106" y="26"/>
                  </a:cubicBezTo>
                  <a:cubicBezTo>
                    <a:pt x="83" y="35"/>
                    <a:pt x="61" y="44"/>
                    <a:pt x="38" y="54"/>
                  </a:cubicBezTo>
                  <a:cubicBezTo>
                    <a:pt x="38" y="54"/>
                    <a:pt x="15" y="50"/>
                    <a:pt x="2" y="45"/>
                  </a:cubicBezTo>
                  <a:cubicBezTo>
                    <a:pt x="1" y="44"/>
                    <a:pt x="0" y="43"/>
                    <a:pt x="1" y="42"/>
                  </a:cubicBezTo>
                  <a:cubicBezTo>
                    <a:pt x="4" y="40"/>
                    <a:pt x="4" y="40"/>
                    <a:pt x="4" y="40"/>
                  </a:cubicBezTo>
                  <a:cubicBezTo>
                    <a:pt x="81" y="0"/>
                    <a:pt x="81" y="0"/>
                    <a:pt x="81" y="0"/>
                  </a:cubicBezTo>
                  <a:lnTo>
                    <a:pt x="141" y="8"/>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39"/>
            <p:cNvSpPr>
              <a:spLocks noEditPoints="1"/>
            </p:cNvSpPr>
            <p:nvPr/>
          </p:nvSpPr>
          <p:spPr bwMode="auto">
            <a:xfrm>
              <a:off x="3535363" y="2525713"/>
              <a:ext cx="298450" cy="114300"/>
            </a:xfrm>
            <a:custGeom>
              <a:avLst/>
              <a:gdLst>
                <a:gd name="T0" fmla="*/ 141 w 141"/>
                <a:gd name="T1" fmla="*/ 9 h 54"/>
                <a:gd name="T2" fmla="*/ 106 w 141"/>
                <a:gd name="T3" fmla="*/ 26 h 54"/>
                <a:gd name="T4" fmla="*/ 106 w 141"/>
                <a:gd name="T5" fmla="*/ 26 h 54"/>
                <a:gd name="T6" fmla="*/ 38 w 141"/>
                <a:gd name="T7" fmla="*/ 54 h 54"/>
                <a:gd name="T8" fmla="*/ 38 w 141"/>
                <a:gd name="T9" fmla="*/ 54 h 54"/>
                <a:gd name="T10" fmla="*/ 38 w 141"/>
                <a:gd name="T11" fmla="*/ 54 h 54"/>
                <a:gd name="T12" fmla="*/ 2 w 141"/>
                <a:gd name="T13" fmla="*/ 45 h 54"/>
                <a:gd name="T14" fmla="*/ 2 w 141"/>
                <a:gd name="T15" fmla="*/ 45 h 54"/>
                <a:gd name="T16" fmla="*/ 2 w 141"/>
                <a:gd name="T17" fmla="*/ 45 h 54"/>
                <a:gd name="T18" fmla="*/ 0 w 141"/>
                <a:gd name="T19" fmla="*/ 43 h 54"/>
                <a:gd name="T20" fmla="*/ 0 w 141"/>
                <a:gd name="T21" fmla="*/ 43 h 54"/>
                <a:gd name="T22" fmla="*/ 1 w 141"/>
                <a:gd name="T23" fmla="*/ 42 h 54"/>
                <a:gd name="T24" fmla="*/ 1 w 141"/>
                <a:gd name="T25" fmla="*/ 42 h 54"/>
                <a:gd name="T26" fmla="*/ 3 w 141"/>
                <a:gd name="T27" fmla="*/ 40 h 54"/>
                <a:gd name="T28" fmla="*/ 3 w 141"/>
                <a:gd name="T29" fmla="*/ 40 h 54"/>
                <a:gd name="T30" fmla="*/ 4 w 141"/>
                <a:gd name="T31" fmla="*/ 40 h 54"/>
                <a:gd name="T32" fmla="*/ 81 w 141"/>
                <a:gd name="T33" fmla="*/ 0 h 54"/>
                <a:gd name="T34" fmla="*/ 81 w 141"/>
                <a:gd name="T35" fmla="*/ 0 h 54"/>
                <a:gd name="T36" fmla="*/ 81 w 141"/>
                <a:gd name="T37" fmla="*/ 0 h 54"/>
                <a:gd name="T38" fmla="*/ 141 w 141"/>
                <a:gd name="T39" fmla="*/ 8 h 54"/>
                <a:gd name="T40" fmla="*/ 141 w 141"/>
                <a:gd name="T41" fmla="*/ 9 h 54"/>
                <a:gd name="T42" fmla="*/ 106 w 141"/>
                <a:gd name="T43" fmla="*/ 26 h 54"/>
                <a:gd name="T44" fmla="*/ 140 w 141"/>
                <a:gd name="T45" fmla="*/ 8 h 54"/>
                <a:gd name="T46" fmla="*/ 81 w 141"/>
                <a:gd name="T47" fmla="*/ 1 h 54"/>
                <a:gd name="T48" fmla="*/ 4 w 141"/>
                <a:gd name="T49" fmla="*/ 40 h 54"/>
                <a:gd name="T50" fmla="*/ 1 w 141"/>
                <a:gd name="T51" fmla="*/ 43 h 54"/>
                <a:gd name="T52" fmla="*/ 1 w 141"/>
                <a:gd name="T53" fmla="*/ 43 h 54"/>
                <a:gd name="T54" fmla="*/ 1 w 141"/>
                <a:gd name="T55" fmla="*/ 43 h 54"/>
                <a:gd name="T56" fmla="*/ 1 w 141"/>
                <a:gd name="T57" fmla="*/ 43 h 54"/>
                <a:gd name="T58" fmla="*/ 1 w 141"/>
                <a:gd name="T59" fmla="*/ 43 h 54"/>
                <a:gd name="T60" fmla="*/ 1 w 141"/>
                <a:gd name="T61" fmla="*/ 43 h 54"/>
                <a:gd name="T62" fmla="*/ 2 w 141"/>
                <a:gd name="T63" fmla="*/ 45 h 54"/>
                <a:gd name="T64" fmla="*/ 38 w 141"/>
                <a:gd name="T65" fmla="*/ 53 h 54"/>
                <a:gd name="T66" fmla="*/ 106 w 141"/>
                <a:gd name="T6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 h="54">
                  <a:moveTo>
                    <a:pt x="141" y="9"/>
                  </a:moveTo>
                  <a:cubicBezTo>
                    <a:pt x="106" y="26"/>
                    <a:pt x="106" y="26"/>
                    <a:pt x="106" y="26"/>
                  </a:cubicBezTo>
                  <a:cubicBezTo>
                    <a:pt x="106" y="26"/>
                    <a:pt x="106" y="26"/>
                    <a:pt x="106" y="26"/>
                  </a:cubicBezTo>
                  <a:cubicBezTo>
                    <a:pt x="38" y="54"/>
                    <a:pt x="38" y="54"/>
                    <a:pt x="38" y="54"/>
                  </a:cubicBezTo>
                  <a:cubicBezTo>
                    <a:pt x="38" y="54"/>
                    <a:pt x="38" y="54"/>
                    <a:pt x="38" y="54"/>
                  </a:cubicBezTo>
                  <a:cubicBezTo>
                    <a:pt x="38" y="54"/>
                    <a:pt x="38" y="54"/>
                    <a:pt x="38" y="54"/>
                  </a:cubicBezTo>
                  <a:cubicBezTo>
                    <a:pt x="38" y="54"/>
                    <a:pt x="15" y="50"/>
                    <a:pt x="2" y="45"/>
                  </a:cubicBezTo>
                  <a:cubicBezTo>
                    <a:pt x="2" y="45"/>
                    <a:pt x="2" y="45"/>
                    <a:pt x="2" y="45"/>
                  </a:cubicBezTo>
                  <a:cubicBezTo>
                    <a:pt x="2" y="45"/>
                    <a:pt x="2" y="45"/>
                    <a:pt x="2" y="45"/>
                  </a:cubicBezTo>
                  <a:cubicBezTo>
                    <a:pt x="1" y="44"/>
                    <a:pt x="1" y="44"/>
                    <a:pt x="0" y="43"/>
                  </a:cubicBezTo>
                  <a:cubicBezTo>
                    <a:pt x="0" y="43"/>
                    <a:pt x="0" y="43"/>
                    <a:pt x="0" y="43"/>
                  </a:cubicBezTo>
                  <a:cubicBezTo>
                    <a:pt x="0" y="43"/>
                    <a:pt x="0" y="42"/>
                    <a:pt x="1" y="42"/>
                  </a:cubicBezTo>
                  <a:cubicBezTo>
                    <a:pt x="1" y="42"/>
                    <a:pt x="1" y="42"/>
                    <a:pt x="1" y="42"/>
                  </a:cubicBezTo>
                  <a:cubicBezTo>
                    <a:pt x="3" y="40"/>
                    <a:pt x="3" y="40"/>
                    <a:pt x="3" y="40"/>
                  </a:cubicBezTo>
                  <a:cubicBezTo>
                    <a:pt x="3" y="40"/>
                    <a:pt x="3" y="40"/>
                    <a:pt x="3" y="40"/>
                  </a:cubicBezTo>
                  <a:cubicBezTo>
                    <a:pt x="4" y="40"/>
                    <a:pt x="4" y="40"/>
                    <a:pt x="4" y="40"/>
                  </a:cubicBezTo>
                  <a:cubicBezTo>
                    <a:pt x="81" y="0"/>
                    <a:pt x="81" y="0"/>
                    <a:pt x="81" y="0"/>
                  </a:cubicBezTo>
                  <a:cubicBezTo>
                    <a:pt x="81" y="0"/>
                    <a:pt x="81" y="0"/>
                    <a:pt x="81" y="0"/>
                  </a:cubicBezTo>
                  <a:cubicBezTo>
                    <a:pt x="81" y="0"/>
                    <a:pt x="81" y="0"/>
                    <a:pt x="81" y="0"/>
                  </a:cubicBezTo>
                  <a:cubicBezTo>
                    <a:pt x="141" y="8"/>
                    <a:pt x="141" y="8"/>
                    <a:pt x="141" y="8"/>
                  </a:cubicBezTo>
                  <a:cubicBezTo>
                    <a:pt x="141" y="9"/>
                    <a:pt x="141" y="9"/>
                    <a:pt x="141" y="9"/>
                  </a:cubicBezTo>
                  <a:close/>
                  <a:moveTo>
                    <a:pt x="106" y="26"/>
                  </a:moveTo>
                  <a:cubicBezTo>
                    <a:pt x="140" y="8"/>
                    <a:pt x="140" y="8"/>
                    <a:pt x="140" y="8"/>
                  </a:cubicBezTo>
                  <a:cubicBezTo>
                    <a:pt x="81" y="1"/>
                    <a:pt x="81" y="1"/>
                    <a:pt x="81" y="1"/>
                  </a:cubicBezTo>
                  <a:cubicBezTo>
                    <a:pt x="4" y="40"/>
                    <a:pt x="4" y="40"/>
                    <a:pt x="4" y="40"/>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3"/>
                    <a:pt x="1" y="43"/>
                  </a:cubicBezTo>
                  <a:cubicBezTo>
                    <a:pt x="1" y="43"/>
                    <a:pt x="1" y="44"/>
                    <a:pt x="2" y="45"/>
                  </a:cubicBezTo>
                  <a:cubicBezTo>
                    <a:pt x="14" y="49"/>
                    <a:pt x="36" y="53"/>
                    <a:pt x="38" y="53"/>
                  </a:cubicBezTo>
                  <a:lnTo>
                    <a:pt x="106" y="26"/>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40"/>
            <p:cNvSpPr>
              <a:spLocks/>
            </p:cNvSpPr>
            <p:nvPr/>
          </p:nvSpPr>
          <p:spPr bwMode="auto">
            <a:xfrm>
              <a:off x="3411538" y="2597150"/>
              <a:ext cx="190500" cy="106363"/>
            </a:xfrm>
            <a:custGeom>
              <a:avLst/>
              <a:gdLst>
                <a:gd name="T0" fmla="*/ 12 w 90"/>
                <a:gd name="T1" fmla="*/ 5 h 50"/>
                <a:gd name="T2" fmla="*/ 5 w 90"/>
                <a:gd name="T3" fmla="*/ 25 h 50"/>
                <a:gd name="T4" fmla="*/ 2 w 90"/>
                <a:gd name="T5" fmla="*/ 39 h 50"/>
                <a:gd name="T6" fmla="*/ 9 w 90"/>
                <a:gd name="T7" fmla="*/ 41 h 50"/>
                <a:gd name="T8" fmla="*/ 19 w 90"/>
                <a:gd name="T9" fmla="*/ 44 h 50"/>
                <a:gd name="T10" fmla="*/ 39 w 90"/>
                <a:gd name="T11" fmla="*/ 50 h 50"/>
                <a:gd name="T12" fmla="*/ 53 w 90"/>
                <a:gd name="T13" fmla="*/ 45 h 50"/>
                <a:gd name="T14" fmla="*/ 54 w 90"/>
                <a:gd name="T15" fmla="*/ 40 h 50"/>
                <a:gd name="T16" fmla="*/ 62 w 90"/>
                <a:gd name="T17" fmla="*/ 35 h 50"/>
                <a:gd name="T18" fmla="*/ 60 w 90"/>
                <a:gd name="T19" fmla="*/ 29 h 50"/>
                <a:gd name="T20" fmla="*/ 66 w 90"/>
                <a:gd name="T21" fmla="*/ 24 h 50"/>
                <a:gd name="T22" fmla="*/ 65 w 90"/>
                <a:gd name="T23" fmla="*/ 17 h 50"/>
                <a:gd name="T24" fmla="*/ 81 w 90"/>
                <a:gd name="T25" fmla="*/ 14 h 50"/>
                <a:gd name="T26" fmla="*/ 89 w 90"/>
                <a:gd name="T27" fmla="*/ 9 h 50"/>
                <a:gd name="T28" fmla="*/ 83 w 90"/>
                <a:gd name="T29" fmla="*/ 6 h 50"/>
                <a:gd name="T30" fmla="*/ 78 w 90"/>
                <a:gd name="T31" fmla="*/ 6 h 50"/>
                <a:gd name="T32" fmla="*/ 62 w 90"/>
                <a:gd name="T33" fmla="*/ 6 h 50"/>
                <a:gd name="T34" fmla="*/ 56 w 90"/>
                <a:gd name="T35" fmla="*/ 5 h 50"/>
                <a:gd name="T36" fmla="*/ 63 w 90"/>
                <a:gd name="T37" fmla="*/ 1 h 50"/>
                <a:gd name="T38" fmla="*/ 43 w 90"/>
                <a:gd name="T39" fmla="*/ 1 h 50"/>
                <a:gd name="T40" fmla="*/ 27 w 90"/>
                <a:gd name="T41" fmla="*/ 1 h 50"/>
                <a:gd name="T42" fmla="*/ 12 w 90"/>
                <a:gd name="T43"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50">
                  <a:moveTo>
                    <a:pt x="12" y="5"/>
                  </a:moveTo>
                  <a:cubicBezTo>
                    <a:pt x="5" y="25"/>
                    <a:pt x="5" y="25"/>
                    <a:pt x="5" y="25"/>
                  </a:cubicBezTo>
                  <a:cubicBezTo>
                    <a:pt x="5" y="25"/>
                    <a:pt x="0" y="36"/>
                    <a:pt x="2" y="39"/>
                  </a:cubicBezTo>
                  <a:cubicBezTo>
                    <a:pt x="4" y="41"/>
                    <a:pt x="9" y="41"/>
                    <a:pt x="9" y="41"/>
                  </a:cubicBezTo>
                  <a:cubicBezTo>
                    <a:pt x="9" y="41"/>
                    <a:pt x="16" y="43"/>
                    <a:pt x="19" y="44"/>
                  </a:cubicBezTo>
                  <a:cubicBezTo>
                    <a:pt x="21" y="46"/>
                    <a:pt x="35" y="50"/>
                    <a:pt x="39" y="50"/>
                  </a:cubicBezTo>
                  <a:cubicBezTo>
                    <a:pt x="43" y="49"/>
                    <a:pt x="52" y="47"/>
                    <a:pt x="53" y="45"/>
                  </a:cubicBezTo>
                  <a:cubicBezTo>
                    <a:pt x="54" y="44"/>
                    <a:pt x="54" y="40"/>
                    <a:pt x="54" y="40"/>
                  </a:cubicBezTo>
                  <a:cubicBezTo>
                    <a:pt x="54" y="40"/>
                    <a:pt x="61" y="38"/>
                    <a:pt x="62" y="35"/>
                  </a:cubicBezTo>
                  <a:cubicBezTo>
                    <a:pt x="63" y="32"/>
                    <a:pt x="60" y="29"/>
                    <a:pt x="60" y="29"/>
                  </a:cubicBezTo>
                  <a:cubicBezTo>
                    <a:pt x="60" y="29"/>
                    <a:pt x="66" y="28"/>
                    <a:pt x="66" y="24"/>
                  </a:cubicBezTo>
                  <a:cubicBezTo>
                    <a:pt x="66" y="21"/>
                    <a:pt x="65" y="17"/>
                    <a:pt x="65" y="17"/>
                  </a:cubicBezTo>
                  <a:cubicBezTo>
                    <a:pt x="65" y="17"/>
                    <a:pt x="77" y="15"/>
                    <a:pt x="81" y="14"/>
                  </a:cubicBezTo>
                  <a:cubicBezTo>
                    <a:pt x="86" y="13"/>
                    <a:pt x="90" y="13"/>
                    <a:pt x="89" y="9"/>
                  </a:cubicBezTo>
                  <a:cubicBezTo>
                    <a:pt x="88" y="6"/>
                    <a:pt x="87" y="5"/>
                    <a:pt x="83" y="6"/>
                  </a:cubicBezTo>
                  <a:cubicBezTo>
                    <a:pt x="78" y="6"/>
                    <a:pt x="78" y="6"/>
                    <a:pt x="78" y="6"/>
                  </a:cubicBezTo>
                  <a:cubicBezTo>
                    <a:pt x="62" y="6"/>
                    <a:pt x="62" y="6"/>
                    <a:pt x="62" y="6"/>
                  </a:cubicBezTo>
                  <a:cubicBezTo>
                    <a:pt x="56" y="5"/>
                    <a:pt x="56" y="5"/>
                    <a:pt x="56" y="5"/>
                  </a:cubicBezTo>
                  <a:cubicBezTo>
                    <a:pt x="63" y="1"/>
                    <a:pt x="63" y="1"/>
                    <a:pt x="63" y="1"/>
                  </a:cubicBezTo>
                  <a:cubicBezTo>
                    <a:pt x="63" y="1"/>
                    <a:pt x="47" y="1"/>
                    <a:pt x="43" y="1"/>
                  </a:cubicBezTo>
                  <a:cubicBezTo>
                    <a:pt x="38" y="0"/>
                    <a:pt x="33" y="0"/>
                    <a:pt x="27" y="1"/>
                  </a:cubicBezTo>
                  <a:cubicBezTo>
                    <a:pt x="22" y="3"/>
                    <a:pt x="19" y="2"/>
                    <a:pt x="12" y="5"/>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Slide Number Placeholder 2"/>
          <p:cNvSpPr>
            <a:spLocks noGrp="1"/>
          </p:cNvSpPr>
          <p:nvPr>
            <p:ph type="sldNum" idx="12"/>
          </p:nvPr>
        </p:nvSpPr>
        <p:spPr/>
        <p:txBody>
          <a:bodyPr/>
          <a:lstStyle/>
          <a:p>
            <a:pPr marL="0" lvl="0" indent="0">
              <a:spcBef>
                <a:spcPts val="0"/>
              </a:spcBef>
              <a:spcAft>
                <a:spcPts val="0"/>
              </a:spcAft>
              <a:buNone/>
            </a:pPr>
            <a:fld id="{00000000-1234-1234-1234-123412341234}" type="slidenum">
              <a:rPr lang="en" smtClean="0"/>
              <a:t>20</a:t>
            </a:fld>
            <a:endParaRPr lang="en"/>
          </a:p>
        </p:txBody>
      </p:sp>
    </p:spTree>
    <p:extLst>
      <p:ext uri="{BB962C8B-B14F-4D97-AF65-F5344CB8AC3E}">
        <p14:creationId xmlns:p14="http://schemas.microsoft.com/office/powerpoint/2010/main" val="1522245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80">
                                          <p:stCondLst>
                                            <p:cond delay="0"/>
                                          </p:stCondLst>
                                        </p:cTn>
                                        <p:tgtEl>
                                          <p:spTgt spid="2"/>
                                        </p:tgtEl>
                                      </p:cBhvr>
                                    </p:animEffect>
                                    <p:anim calcmode="lin" valueType="num">
                                      <p:cBhvr>
                                        <p:cTn id="8" dur="1822" tmFilter="0,0; 0.14,0.36; 0.43,0.73; 0.71,0.91; 1.0,1.0">
                                          <p:stCondLst>
                                            <p:cond delay="0"/>
                                          </p:stCondLst>
                                        </p:cTn>
                                        <p:tgtEl>
                                          <p:spTgt spid="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
                                        </p:tgtEl>
                                        <p:attrNameLst>
                                          <p:attrName>ppt_y</p:attrName>
                                        </p:attrNameLst>
                                      </p:cBhvr>
                                      <p:tavLst>
                                        <p:tav tm="0" fmla="#ppt_y-sin(pi*$)/81">
                                          <p:val>
                                            <p:fltVal val="0"/>
                                          </p:val>
                                        </p:tav>
                                        <p:tav tm="100000">
                                          <p:val>
                                            <p:fltVal val="1"/>
                                          </p:val>
                                        </p:tav>
                                      </p:tavLst>
                                    </p:anim>
                                    <p:animScale>
                                      <p:cBhvr>
                                        <p:cTn id="13" dur="26">
                                          <p:stCondLst>
                                            <p:cond delay="650"/>
                                          </p:stCondLst>
                                        </p:cTn>
                                        <p:tgtEl>
                                          <p:spTgt spid="2"/>
                                        </p:tgtEl>
                                      </p:cBhvr>
                                      <p:to x="100000" y="60000"/>
                                    </p:animScale>
                                    <p:animScale>
                                      <p:cBhvr>
                                        <p:cTn id="14" dur="166" decel="50000">
                                          <p:stCondLst>
                                            <p:cond delay="676"/>
                                          </p:stCondLst>
                                        </p:cTn>
                                        <p:tgtEl>
                                          <p:spTgt spid="2"/>
                                        </p:tgtEl>
                                      </p:cBhvr>
                                      <p:to x="100000" y="100000"/>
                                    </p:animScale>
                                    <p:animScale>
                                      <p:cBhvr>
                                        <p:cTn id="15" dur="26">
                                          <p:stCondLst>
                                            <p:cond delay="1312"/>
                                          </p:stCondLst>
                                        </p:cTn>
                                        <p:tgtEl>
                                          <p:spTgt spid="2"/>
                                        </p:tgtEl>
                                      </p:cBhvr>
                                      <p:to x="100000" y="80000"/>
                                    </p:animScale>
                                    <p:animScale>
                                      <p:cBhvr>
                                        <p:cTn id="16" dur="166" decel="50000">
                                          <p:stCondLst>
                                            <p:cond delay="1338"/>
                                          </p:stCondLst>
                                        </p:cTn>
                                        <p:tgtEl>
                                          <p:spTgt spid="2"/>
                                        </p:tgtEl>
                                      </p:cBhvr>
                                      <p:to x="100000" y="100000"/>
                                    </p:animScale>
                                    <p:animScale>
                                      <p:cBhvr>
                                        <p:cTn id="17" dur="26">
                                          <p:stCondLst>
                                            <p:cond delay="1642"/>
                                          </p:stCondLst>
                                        </p:cTn>
                                        <p:tgtEl>
                                          <p:spTgt spid="2"/>
                                        </p:tgtEl>
                                      </p:cBhvr>
                                      <p:to x="100000" y="90000"/>
                                    </p:animScale>
                                    <p:animScale>
                                      <p:cBhvr>
                                        <p:cTn id="18" dur="166" decel="50000">
                                          <p:stCondLst>
                                            <p:cond delay="1668"/>
                                          </p:stCondLst>
                                        </p:cTn>
                                        <p:tgtEl>
                                          <p:spTgt spid="2"/>
                                        </p:tgtEl>
                                      </p:cBhvr>
                                      <p:to x="100000" y="100000"/>
                                    </p:animScale>
                                    <p:animScale>
                                      <p:cBhvr>
                                        <p:cTn id="19" dur="26">
                                          <p:stCondLst>
                                            <p:cond delay="1808"/>
                                          </p:stCondLst>
                                        </p:cTn>
                                        <p:tgtEl>
                                          <p:spTgt spid="2"/>
                                        </p:tgtEl>
                                      </p:cBhvr>
                                      <p:to x="100000" y="95000"/>
                                    </p:animScale>
                                    <p:animScale>
                                      <p:cBhvr>
                                        <p:cTn id="20" dur="166" decel="50000">
                                          <p:stCondLst>
                                            <p:cond delay="1834"/>
                                          </p:stCondLst>
                                        </p:cTn>
                                        <p:tgtEl>
                                          <p:spTgt spid="2"/>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sp>
        <p:nvSpPr>
          <p:cNvPr id="139" name="Shape 139"/>
          <p:cNvSpPr txBox="1">
            <a:spLocks noGrp="1"/>
          </p:cNvSpPr>
          <p:nvPr>
            <p:ph type="title"/>
          </p:nvPr>
        </p:nvSpPr>
        <p:spPr>
          <a:xfrm>
            <a:off x="1104900" y="276075"/>
            <a:ext cx="6724500" cy="749100"/>
          </a:xfrm>
          <a:prstGeom prst="rect">
            <a:avLst/>
          </a:prstGeom>
        </p:spPr>
        <p:txBody>
          <a:bodyPr spcFirstLastPara="1" wrap="square" lIns="91425" tIns="91425" rIns="91425" bIns="91425" anchor="ctr" anchorCtr="0">
            <a:noAutofit/>
          </a:bodyPr>
          <a:lstStyle/>
          <a:p>
            <a:pPr lvl="0" algn="ctr"/>
            <a:r>
              <a:rPr lang="en-US" b="1" dirty="0">
                <a:solidFill>
                  <a:schemeClr val="bg1"/>
                </a:solidFill>
                <a:cs typeface="Arial" panose="020B0604020202020204" pitchFamily="34" charset="0"/>
              </a:rPr>
              <a:t>Background of My Action </a:t>
            </a:r>
            <a:r>
              <a:rPr lang="en-US" b="1" dirty="0" smtClean="0">
                <a:solidFill>
                  <a:schemeClr val="bg1"/>
                </a:solidFill>
                <a:cs typeface="Arial" panose="020B0604020202020204" pitchFamily="34" charset="0"/>
              </a:rPr>
              <a:t>Plan(1/3)</a:t>
            </a:r>
            <a:endParaRPr b="1" dirty="0">
              <a:solidFill>
                <a:schemeClr val="bg1"/>
              </a:solidFill>
            </a:endParaRPr>
          </a:p>
        </p:txBody>
      </p:sp>
      <p:sp>
        <p:nvSpPr>
          <p:cNvPr id="140" name="Shape 140"/>
          <p:cNvSpPr txBox="1">
            <a:spLocks noGrp="1"/>
          </p:cNvSpPr>
          <p:nvPr>
            <p:ph type="body" idx="1"/>
          </p:nvPr>
        </p:nvSpPr>
        <p:spPr>
          <a:xfrm>
            <a:off x="1104900" y="895350"/>
            <a:ext cx="7581900" cy="3810000"/>
          </a:xfrm>
          <a:prstGeom prst="rect">
            <a:avLst/>
          </a:prstGeom>
        </p:spPr>
        <p:txBody>
          <a:bodyPr spcFirstLastPara="1" wrap="square" lIns="91425" tIns="91425" rIns="91425" bIns="91425" anchor="t" anchorCtr="0">
            <a:noAutofit/>
          </a:bodyPr>
          <a:lstStyle/>
          <a:p>
            <a:pPr marL="0" indent="0">
              <a:buNone/>
            </a:pPr>
            <a:r>
              <a:rPr lang="en-US" altLang="ja-JP" sz="1800" b="1" dirty="0">
                <a:solidFill>
                  <a:srgbClr val="FF6600"/>
                </a:solidFill>
              </a:rPr>
              <a:t>Vision / Mission of my </a:t>
            </a:r>
            <a:r>
              <a:rPr lang="en-US" altLang="ja-JP" sz="1800" b="1" dirty="0" smtClean="0">
                <a:solidFill>
                  <a:srgbClr val="FF6600"/>
                </a:solidFill>
              </a:rPr>
              <a:t>Organization:</a:t>
            </a:r>
            <a:endParaRPr lang="en-US" altLang="ja-JP" sz="1800" b="1" dirty="0">
              <a:solidFill>
                <a:srgbClr val="FF6600"/>
              </a:solidFill>
            </a:endParaRPr>
          </a:p>
          <a:p>
            <a:pPr marL="0" indent="0">
              <a:lnSpc>
                <a:spcPct val="150000"/>
              </a:lnSpc>
              <a:buNone/>
            </a:pPr>
            <a:r>
              <a:rPr lang="en-US" altLang="pt-PT" sz="1600" b="1" dirty="0">
                <a:solidFill>
                  <a:schemeClr val="tx1"/>
                </a:solidFill>
                <a:cs typeface="Arial" panose="020B0604020202020204" pitchFamily="34" charset="0"/>
              </a:rPr>
              <a:t>Vision</a:t>
            </a:r>
            <a:r>
              <a:rPr lang="en-US" altLang="pt-PT" sz="1600" dirty="0">
                <a:cs typeface="Arial" panose="020B0604020202020204" pitchFamily="34" charset="0"/>
              </a:rPr>
              <a:t>: </a:t>
            </a:r>
            <a:r>
              <a:rPr lang="en-US" altLang="pt-PT" sz="1600" dirty="0">
                <a:solidFill>
                  <a:schemeClr val="tx1"/>
                </a:solidFill>
                <a:cs typeface="Arial" panose="020B0604020202020204" pitchFamily="34" charset="0"/>
              </a:rPr>
              <a:t>Maximum utilization of IT in order to improve performance and development of policies that govern the Information in the State and to support decisions, which provide correct information for accessing to sustainable development, stability, and welfare for all the community.</a:t>
            </a:r>
            <a:endParaRPr lang="en-US" altLang="ja-JP" sz="1600" b="1" dirty="0">
              <a:solidFill>
                <a:schemeClr val="tx1"/>
              </a:solidFill>
              <a:cs typeface="Arial" panose="020B0604020202020204" pitchFamily="34" charset="0"/>
            </a:endParaRPr>
          </a:p>
          <a:p>
            <a:pPr marL="0" indent="0">
              <a:lnSpc>
                <a:spcPct val="150000"/>
              </a:lnSpc>
              <a:buNone/>
            </a:pPr>
            <a:r>
              <a:rPr lang="en-US" altLang="en-US" sz="1600" b="1" dirty="0">
                <a:solidFill>
                  <a:schemeClr val="tx1"/>
                </a:solidFill>
                <a:cs typeface="Arial" panose="020B0604020202020204" pitchFamily="34" charset="0"/>
              </a:rPr>
              <a:t>Mission</a:t>
            </a:r>
            <a:r>
              <a:rPr lang="en-US" altLang="en-US" sz="1600" dirty="0">
                <a:solidFill>
                  <a:schemeClr val="tx1"/>
                </a:solidFill>
                <a:cs typeface="Arial" panose="020B0604020202020204" pitchFamily="34" charset="0"/>
              </a:rPr>
              <a:t>: A satisfied community with </a:t>
            </a:r>
            <a:r>
              <a:rPr lang="en-US" altLang="en-US" sz="1600" dirty="0" smtClean="0">
                <a:solidFill>
                  <a:schemeClr val="tx1"/>
                </a:solidFill>
                <a:cs typeface="Arial" panose="020B0604020202020204" pitchFamily="34" charset="0"/>
              </a:rPr>
              <a:t>all </a:t>
            </a:r>
            <a:r>
              <a:rPr lang="en-US" altLang="en-US" sz="1600" dirty="0">
                <a:solidFill>
                  <a:schemeClr val="tx1"/>
                </a:solidFill>
                <a:cs typeface="Arial" panose="020B0604020202020204" pitchFamily="34" charset="0"/>
              </a:rPr>
              <a:t>governmental services</a:t>
            </a:r>
            <a:r>
              <a:rPr lang="en-US" altLang="en-US" sz="1600" dirty="0" smtClean="0">
                <a:solidFill>
                  <a:schemeClr val="tx1"/>
                </a:solidFill>
                <a:cs typeface="Arial" panose="020B0604020202020204" pitchFamily="34" charset="0"/>
              </a:rPr>
              <a:t>.</a:t>
            </a:r>
          </a:p>
          <a:p>
            <a:pPr marL="0" indent="0">
              <a:lnSpc>
                <a:spcPct val="150000"/>
              </a:lnSpc>
              <a:buNone/>
            </a:pPr>
            <a:r>
              <a:rPr lang="en-US" altLang="ja-JP" sz="1800" b="1" dirty="0" smtClean="0">
                <a:solidFill>
                  <a:srgbClr val="FF6600"/>
                </a:solidFill>
              </a:rPr>
              <a:t>Strategy </a:t>
            </a:r>
            <a:r>
              <a:rPr lang="en-US" altLang="ja-JP" sz="1800" b="1" dirty="0">
                <a:solidFill>
                  <a:srgbClr val="FF6600"/>
                </a:solidFill>
              </a:rPr>
              <a:t>of my </a:t>
            </a:r>
            <a:r>
              <a:rPr lang="en-US" altLang="ja-JP" sz="1800" b="1" dirty="0" smtClean="0">
                <a:solidFill>
                  <a:srgbClr val="FF6600"/>
                </a:solidFill>
              </a:rPr>
              <a:t>Department</a:t>
            </a:r>
            <a:endParaRPr lang="en-US" altLang="en-US" sz="1800" dirty="0">
              <a:solidFill>
                <a:srgbClr val="FF6600"/>
              </a:solidFill>
              <a:cs typeface="Arial" panose="020B0604020202020204" pitchFamily="34" charset="0"/>
            </a:endParaRPr>
          </a:p>
          <a:p>
            <a:pPr marL="38100" indent="0">
              <a:buNone/>
            </a:pPr>
            <a:r>
              <a:rPr lang="en-US" altLang="pt-PT" sz="1600" dirty="0"/>
              <a:t>Evaluate current work systems in government sector and implement </a:t>
            </a:r>
            <a:r>
              <a:rPr lang="en-US" altLang="pt-PT" sz="1600" dirty="0" smtClean="0"/>
              <a:t>E-government </a:t>
            </a:r>
            <a:r>
              <a:rPr lang="en-US" altLang="pt-PT" sz="1600" dirty="0"/>
              <a:t>application </a:t>
            </a:r>
            <a:r>
              <a:rPr lang="en-US" altLang="pt-PT" sz="1600" dirty="0" smtClean="0"/>
              <a:t>and system in Sudan.</a:t>
            </a:r>
            <a:endParaRPr lang="en-US" altLang="ja-JP" sz="1600" dirty="0"/>
          </a:p>
          <a:p>
            <a:pPr marL="0" indent="0">
              <a:buNone/>
            </a:pPr>
            <a:endParaRPr lang="en-US" sz="1300" dirty="0"/>
          </a:p>
          <a:p>
            <a:pPr marL="38100" lvl="0" indent="0" rtl="0">
              <a:spcBef>
                <a:spcPts val="600"/>
              </a:spcBef>
              <a:spcAft>
                <a:spcPts val="0"/>
              </a:spcAft>
              <a:buSzPts val="3000"/>
              <a:buNone/>
            </a:pPr>
            <a:endParaRPr sz="1300" dirty="0"/>
          </a:p>
        </p:txBody>
      </p:sp>
      <p:sp>
        <p:nvSpPr>
          <p:cNvPr id="141" name="Shape 141"/>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t>3</a:t>
            </a:fld>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91752595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1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p:txBody>
          <a:bodyPr>
            <a:normAutofit fontScale="90000"/>
          </a:bodyPr>
          <a:lstStyle/>
          <a:p>
            <a:pPr marL="0" indent="0" algn="ctr"/>
            <a:r>
              <a:rPr lang="en-US" b="1" dirty="0">
                <a:solidFill>
                  <a:schemeClr val="bg1"/>
                </a:solidFill>
                <a:cs typeface="Arial" panose="020B0604020202020204" pitchFamily="34" charset="0"/>
              </a:rPr>
              <a:t>Background of My Action </a:t>
            </a:r>
            <a:r>
              <a:rPr lang="en-US" b="1" dirty="0" smtClean="0">
                <a:solidFill>
                  <a:schemeClr val="bg1"/>
                </a:solidFill>
                <a:cs typeface="Arial" panose="020B0604020202020204" pitchFamily="34" charset="0"/>
              </a:rPr>
              <a:t>Plan(2/3)</a:t>
            </a:r>
            <a:br>
              <a:rPr lang="en-US" b="1" dirty="0" smtClean="0">
                <a:solidFill>
                  <a:schemeClr val="bg1"/>
                </a:solidFill>
                <a:cs typeface="Arial" panose="020B0604020202020204" pitchFamily="34" charset="0"/>
              </a:rPr>
            </a:br>
            <a:r>
              <a:rPr lang="en-US" altLang="pt-PT" sz="2000" b="1" dirty="0" smtClean="0">
                <a:solidFill>
                  <a:schemeClr val="bg1"/>
                </a:solidFill>
              </a:rPr>
              <a:t>My </a:t>
            </a:r>
            <a:r>
              <a:rPr lang="en-US" altLang="pt-PT" sz="2000" b="1" dirty="0">
                <a:solidFill>
                  <a:schemeClr val="bg1"/>
                </a:solidFill>
              </a:rPr>
              <a:t>Role in my </a:t>
            </a:r>
            <a:r>
              <a:rPr lang="en-US" altLang="pt-PT" sz="2000" b="1" dirty="0" smtClean="0">
                <a:solidFill>
                  <a:schemeClr val="bg1"/>
                </a:solidFill>
              </a:rPr>
              <a:t>Organization</a:t>
            </a:r>
            <a:endParaRPr lang="en-US" altLang="pt-PT" sz="2000" b="1" dirty="0">
              <a:solidFill>
                <a:schemeClr val="bg1"/>
              </a:solidFill>
            </a:endParaRPr>
          </a:p>
        </p:txBody>
      </p:sp>
      <p:grpSp>
        <p:nvGrpSpPr>
          <p:cNvPr id="7" name="Group 6"/>
          <p:cNvGrpSpPr/>
          <p:nvPr/>
        </p:nvGrpSpPr>
        <p:grpSpPr>
          <a:xfrm>
            <a:off x="3745964" y="1727259"/>
            <a:ext cx="2561321" cy="3055406"/>
            <a:chOff x="3792164" y="1789294"/>
            <a:chExt cx="2561321" cy="3055406"/>
          </a:xfrm>
        </p:grpSpPr>
        <p:sp>
          <p:nvSpPr>
            <p:cNvPr id="49" name="Left Arrow Callout 6"/>
            <p:cNvSpPr/>
            <p:nvPr/>
          </p:nvSpPr>
          <p:spPr>
            <a:xfrm rot="5360280" flipH="1">
              <a:off x="3545122" y="2036336"/>
              <a:ext cx="3055406" cy="2561321"/>
            </a:xfrm>
            <a:custGeom>
              <a:avLst/>
              <a:gdLst>
                <a:gd name="connsiteX0" fmla="*/ 0 w 3732315"/>
                <a:gd name="connsiteY0" fmla="*/ 1149668 h 2299336"/>
                <a:gd name="connsiteX1" fmla="*/ 574834 w 3732315"/>
                <a:gd name="connsiteY1" fmla="*/ 574834 h 2299336"/>
                <a:gd name="connsiteX2" fmla="*/ 574834 w 3732315"/>
                <a:gd name="connsiteY2" fmla="*/ 810516 h 2299336"/>
                <a:gd name="connsiteX3" fmla="*/ 1356846 w 3732315"/>
                <a:gd name="connsiteY3" fmla="*/ 810516 h 2299336"/>
                <a:gd name="connsiteX4" fmla="*/ 1356846 w 3732315"/>
                <a:gd name="connsiteY4" fmla="*/ 0 h 2299336"/>
                <a:gd name="connsiteX5" fmla="*/ 3732315 w 3732315"/>
                <a:gd name="connsiteY5" fmla="*/ 0 h 2299336"/>
                <a:gd name="connsiteX6" fmla="*/ 3732315 w 3732315"/>
                <a:gd name="connsiteY6" fmla="*/ 2299336 h 2299336"/>
                <a:gd name="connsiteX7" fmla="*/ 1356846 w 3732315"/>
                <a:gd name="connsiteY7" fmla="*/ 2299336 h 2299336"/>
                <a:gd name="connsiteX8" fmla="*/ 1356846 w 3732315"/>
                <a:gd name="connsiteY8" fmla="*/ 1488820 h 2299336"/>
                <a:gd name="connsiteX9" fmla="*/ 574834 w 3732315"/>
                <a:gd name="connsiteY9" fmla="*/ 1488820 h 2299336"/>
                <a:gd name="connsiteX10" fmla="*/ 574834 w 3732315"/>
                <a:gd name="connsiteY10" fmla="*/ 1724502 h 2299336"/>
                <a:gd name="connsiteX11" fmla="*/ 0 w 3732315"/>
                <a:gd name="connsiteY11" fmla="*/ 1149668 h 2299336"/>
                <a:gd name="connsiteX0" fmla="*/ 0 w 3732315"/>
                <a:gd name="connsiteY0" fmla="*/ 1149668 h 2299336"/>
                <a:gd name="connsiteX1" fmla="*/ 574834 w 3732315"/>
                <a:gd name="connsiteY1" fmla="*/ 574834 h 2299336"/>
                <a:gd name="connsiteX2" fmla="*/ 574834 w 3732315"/>
                <a:gd name="connsiteY2" fmla="*/ 810516 h 2299336"/>
                <a:gd name="connsiteX3" fmla="*/ 1356846 w 3732315"/>
                <a:gd name="connsiteY3" fmla="*/ 810516 h 2299336"/>
                <a:gd name="connsiteX4" fmla="*/ 1356846 w 3732315"/>
                <a:gd name="connsiteY4" fmla="*/ 0 h 2299336"/>
                <a:gd name="connsiteX5" fmla="*/ 3732315 w 3732315"/>
                <a:gd name="connsiteY5" fmla="*/ 0 h 2299336"/>
                <a:gd name="connsiteX6" fmla="*/ 3724441 w 3732315"/>
                <a:gd name="connsiteY6" fmla="*/ 1617894 h 2299336"/>
                <a:gd name="connsiteX7" fmla="*/ 1356846 w 3732315"/>
                <a:gd name="connsiteY7" fmla="*/ 2299336 h 2299336"/>
                <a:gd name="connsiteX8" fmla="*/ 1356846 w 3732315"/>
                <a:gd name="connsiteY8" fmla="*/ 1488820 h 2299336"/>
                <a:gd name="connsiteX9" fmla="*/ 574834 w 3732315"/>
                <a:gd name="connsiteY9" fmla="*/ 1488820 h 2299336"/>
                <a:gd name="connsiteX10" fmla="*/ 574834 w 3732315"/>
                <a:gd name="connsiteY10" fmla="*/ 1724502 h 2299336"/>
                <a:gd name="connsiteX11" fmla="*/ 0 w 3732315"/>
                <a:gd name="connsiteY11" fmla="*/ 1149668 h 2299336"/>
                <a:gd name="connsiteX0" fmla="*/ 0 w 3725058"/>
                <a:gd name="connsiteY0" fmla="*/ 1149668 h 2299336"/>
                <a:gd name="connsiteX1" fmla="*/ 574834 w 3725058"/>
                <a:gd name="connsiteY1" fmla="*/ 574834 h 2299336"/>
                <a:gd name="connsiteX2" fmla="*/ 574834 w 3725058"/>
                <a:gd name="connsiteY2" fmla="*/ 810516 h 2299336"/>
                <a:gd name="connsiteX3" fmla="*/ 1356846 w 3725058"/>
                <a:gd name="connsiteY3" fmla="*/ 810516 h 2299336"/>
                <a:gd name="connsiteX4" fmla="*/ 1356846 w 3725058"/>
                <a:gd name="connsiteY4" fmla="*/ 0 h 2299336"/>
                <a:gd name="connsiteX5" fmla="*/ 3722937 w 3725058"/>
                <a:gd name="connsiteY5" fmla="*/ 681640 h 2299336"/>
                <a:gd name="connsiteX6" fmla="*/ 3724441 w 3725058"/>
                <a:gd name="connsiteY6" fmla="*/ 1617894 h 2299336"/>
                <a:gd name="connsiteX7" fmla="*/ 1356846 w 3725058"/>
                <a:gd name="connsiteY7" fmla="*/ 2299336 h 2299336"/>
                <a:gd name="connsiteX8" fmla="*/ 1356846 w 3725058"/>
                <a:gd name="connsiteY8" fmla="*/ 1488820 h 2299336"/>
                <a:gd name="connsiteX9" fmla="*/ 574834 w 3725058"/>
                <a:gd name="connsiteY9" fmla="*/ 1488820 h 2299336"/>
                <a:gd name="connsiteX10" fmla="*/ 574834 w 3725058"/>
                <a:gd name="connsiteY10" fmla="*/ 1724502 h 2299336"/>
                <a:gd name="connsiteX11" fmla="*/ 0 w 3725058"/>
                <a:gd name="connsiteY11" fmla="*/ 1149668 h 2299336"/>
                <a:gd name="connsiteX0" fmla="*/ 0 w 3725058"/>
                <a:gd name="connsiteY0" fmla="*/ 1149668 h 2342030"/>
                <a:gd name="connsiteX1" fmla="*/ 574834 w 3725058"/>
                <a:gd name="connsiteY1" fmla="*/ 574834 h 2342030"/>
                <a:gd name="connsiteX2" fmla="*/ 574834 w 3725058"/>
                <a:gd name="connsiteY2" fmla="*/ 810516 h 2342030"/>
                <a:gd name="connsiteX3" fmla="*/ 1356846 w 3725058"/>
                <a:gd name="connsiteY3" fmla="*/ 810516 h 2342030"/>
                <a:gd name="connsiteX4" fmla="*/ 1356846 w 3725058"/>
                <a:gd name="connsiteY4" fmla="*/ 0 h 2342030"/>
                <a:gd name="connsiteX5" fmla="*/ 3722937 w 3725058"/>
                <a:gd name="connsiteY5" fmla="*/ 681640 h 2342030"/>
                <a:gd name="connsiteX6" fmla="*/ 3724441 w 3725058"/>
                <a:gd name="connsiteY6" fmla="*/ 1617894 h 2342030"/>
                <a:gd name="connsiteX7" fmla="*/ 1371627 w 3725058"/>
                <a:gd name="connsiteY7" fmla="*/ 2342030 h 2342030"/>
                <a:gd name="connsiteX8" fmla="*/ 1356846 w 3725058"/>
                <a:gd name="connsiteY8" fmla="*/ 1488820 h 2342030"/>
                <a:gd name="connsiteX9" fmla="*/ 574834 w 3725058"/>
                <a:gd name="connsiteY9" fmla="*/ 1488820 h 2342030"/>
                <a:gd name="connsiteX10" fmla="*/ 574834 w 3725058"/>
                <a:gd name="connsiteY10" fmla="*/ 1724502 h 2342030"/>
                <a:gd name="connsiteX11" fmla="*/ 0 w 3725058"/>
                <a:gd name="connsiteY11" fmla="*/ 1149668 h 2342030"/>
                <a:gd name="connsiteX0" fmla="*/ 0 w 3725084"/>
                <a:gd name="connsiteY0" fmla="*/ 1149668 h 2342030"/>
                <a:gd name="connsiteX1" fmla="*/ 574834 w 3725084"/>
                <a:gd name="connsiteY1" fmla="*/ 574834 h 2342030"/>
                <a:gd name="connsiteX2" fmla="*/ 574834 w 3725084"/>
                <a:gd name="connsiteY2" fmla="*/ 810516 h 2342030"/>
                <a:gd name="connsiteX3" fmla="*/ 1356846 w 3725084"/>
                <a:gd name="connsiteY3" fmla="*/ 810516 h 2342030"/>
                <a:gd name="connsiteX4" fmla="*/ 1356846 w 3725084"/>
                <a:gd name="connsiteY4" fmla="*/ 0 h 2342030"/>
                <a:gd name="connsiteX5" fmla="*/ 3722937 w 3725084"/>
                <a:gd name="connsiteY5" fmla="*/ 681640 h 2342030"/>
                <a:gd name="connsiteX6" fmla="*/ 3724469 w 3725084"/>
                <a:gd name="connsiteY6" fmla="*/ 1620275 h 2342030"/>
                <a:gd name="connsiteX7" fmla="*/ 1371627 w 3725084"/>
                <a:gd name="connsiteY7" fmla="*/ 2342030 h 2342030"/>
                <a:gd name="connsiteX8" fmla="*/ 1356846 w 3725084"/>
                <a:gd name="connsiteY8" fmla="*/ 1488820 h 2342030"/>
                <a:gd name="connsiteX9" fmla="*/ 574834 w 3725084"/>
                <a:gd name="connsiteY9" fmla="*/ 1488820 h 2342030"/>
                <a:gd name="connsiteX10" fmla="*/ 574834 w 3725084"/>
                <a:gd name="connsiteY10" fmla="*/ 1724502 h 2342030"/>
                <a:gd name="connsiteX11" fmla="*/ 0 w 3725084"/>
                <a:gd name="connsiteY11" fmla="*/ 1149668 h 234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25084" h="2342030">
                  <a:moveTo>
                    <a:pt x="0" y="1149668"/>
                  </a:moveTo>
                  <a:lnTo>
                    <a:pt x="574834" y="574834"/>
                  </a:lnTo>
                  <a:lnTo>
                    <a:pt x="574834" y="810516"/>
                  </a:lnTo>
                  <a:lnTo>
                    <a:pt x="1356846" y="810516"/>
                  </a:lnTo>
                  <a:lnTo>
                    <a:pt x="1356846" y="0"/>
                  </a:lnTo>
                  <a:lnTo>
                    <a:pt x="3722937" y="681640"/>
                  </a:lnTo>
                  <a:cubicBezTo>
                    <a:pt x="3720312" y="1220938"/>
                    <a:pt x="3727094" y="1080977"/>
                    <a:pt x="3724469" y="1620275"/>
                  </a:cubicBezTo>
                  <a:lnTo>
                    <a:pt x="1371627" y="2342030"/>
                  </a:lnTo>
                  <a:lnTo>
                    <a:pt x="1356846" y="1488820"/>
                  </a:lnTo>
                  <a:lnTo>
                    <a:pt x="574834" y="1488820"/>
                  </a:lnTo>
                  <a:lnTo>
                    <a:pt x="574834" y="1724502"/>
                  </a:lnTo>
                  <a:lnTo>
                    <a:pt x="0" y="1149668"/>
                  </a:lnTo>
                  <a:close/>
                </a:path>
              </a:pathLst>
            </a:cu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2000" dirty="0"/>
            </a:p>
          </p:txBody>
        </p:sp>
        <p:sp>
          <p:nvSpPr>
            <p:cNvPr id="51" name="Rectangle 16"/>
            <p:cNvSpPr/>
            <p:nvPr/>
          </p:nvSpPr>
          <p:spPr>
            <a:xfrm rot="21567165">
              <a:off x="4098829" y="2012575"/>
              <a:ext cx="1947990" cy="1584497"/>
            </a:xfrm>
            <a:custGeom>
              <a:avLst/>
              <a:gdLst>
                <a:gd name="connsiteX0" fmla="*/ 0 w 1957415"/>
                <a:gd name="connsiteY0" fmla="*/ 0 h 1939830"/>
                <a:gd name="connsiteX1" fmla="*/ 1957415 w 1957415"/>
                <a:gd name="connsiteY1" fmla="*/ 0 h 1939830"/>
                <a:gd name="connsiteX2" fmla="*/ 1957415 w 1957415"/>
                <a:gd name="connsiteY2" fmla="*/ 1939830 h 1939830"/>
                <a:gd name="connsiteX3" fmla="*/ 0 w 1957415"/>
                <a:gd name="connsiteY3" fmla="*/ 1939830 h 1939830"/>
                <a:gd name="connsiteX4" fmla="*/ 0 w 1957415"/>
                <a:gd name="connsiteY4" fmla="*/ 0 h 1939830"/>
                <a:gd name="connsiteX0" fmla="*/ 517397 w 1957415"/>
                <a:gd name="connsiteY0" fmla="*/ 22195 h 1939830"/>
                <a:gd name="connsiteX1" fmla="*/ 1957415 w 1957415"/>
                <a:gd name="connsiteY1" fmla="*/ 0 h 1939830"/>
                <a:gd name="connsiteX2" fmla="*/ 1957415 w 1957415"/>
                <a:gd name="connsiteY2" fmla="*/ 1939830 h 1939830"/>
                <a:gd name="connsiteX3" fmla="*/ 0 w 1957415"/>
                <a:gd name="connsiteY3" fmla="*/ 1939830 h 1939830"/>
                <a:gd name="connsiteX4" fmla="*/ 517397 w 1957415"/>
                <a:gd name="connsiteY4" fmla="*/ 22195 h 1939830"/>
                <a:gd name="connsiteX0" fmla="*/ 517397 w 1957415"/>
                <a:gd name="connsiteY0" fmla="*/ 9887 h 1927522"/>
                <a:gd name="connsiteX1" fmla="*/ 1439688 w 1957415"/>
                <a:gd name="connsiteY1" fmla="*/ 0 h 1927522"/>
                <a:gd name="connsiteX2" fmla="*/ 1957415 w 1957415"/>
                <a:gd name="connsiteY2" fmla="*/ 1927522 h 1927522"/>
                <a:gd name="connsiteX3" fmla="*/ 0 w 1957415"/>
                <a:gd name="connsiteY3" fmla="*/ 1927522 h 1927522"/>
                <a:gd name="connsiteX4" fmla="*/ 517397 w 1957415"/>
                <a:gd name="connsiteY4" fmla="*/ 9887 h 1927522"/>
                <a:gd name="connsiteX0" fmla="*/ 574636 w 1957415"/>
                <a:gd name="connsiteY0" fmla="*/ 908 h 1927522"/>
                <a:gd name="connsiteX1" fmla="*/ 1439688 w 1957415"/>
                <a:gd name="connsiteY1" fmla="*/ 0 h 1927522"/>
                <a:gd name="connsiteX2" fmla="*/ 1957415 w 1957415"/>
                <a:gd name="connsiteY2" fmla="*/ 1927522 h 1927522"/>
                <a:gd name="connsiteX3" fmla="*/ 0 w 1957415"/>
                <a:gd name="connsiteY3" fmla="*/ 1927522 h 1927522"/>
                <a:gd name="connsiteX4" fmla="*/ 574636 w 1957415"/>
                <a:gd name="connsiteY4" fmla="*/ 908 h 1927522"/>
                <a:gd name="connsiteX0" fmla="*/ 574636 w 1957415"/>
                <a:gd name="connsiteY0" fmla="*/ 0 h 1926614"/>
                <a:gd name="connsiteX1" fmla="*/ 1382495 w 1957415"/>
                <a:gd name="connsiteY1" fmla="*/ 3309 h 1926614"/>
                <a:gd name="connsiteX2" fmla="*/ 1957415 w 1957415"/>
                <a:gd name="connsiteY2" fmla="*/ 1926614 h 1926614"/>
                <a:gd name="connsiteX3" fmla="*/ 0 w 1957415"/>
                <a:gd name="connsiteY3" fmla="*/ 1926614 h 1926614"/>
                <a:gd name="connsiteX4" fmla="*/ 574636 w 1957415"/>
                <a:gd name="connsiteY4" fmla="*/ 0 h 1926614"/>
                <a:gd name="connsiteX0" fmla="*/ 507964 w 1890743"/>
                <a:gd name="connsiteY0" fmla="*/ 0 h 1927250"/>
                <a:gd name="connsiteX1" fmla="*/ 1315823 w 1890743"/>
                <a:gd name="connsiteY1" fmla="*/ 3309 h 1927250"/>
                <a:gd name="connsiteX2" fmla="*/ 1890743 w 1890743"/>
                <a:gd name="connsiteY2" fmla="*/ 1926614 h 1927250"/>
                <a:gd name="connsiteX3" fmla="*/ 0 w 1890743"/>
                <a:gd name="connsiteY3" fmla="*/ 1927250 h 1927250"/>
                <a:gd name="connsiteX4" fmla="*/ 507964 w 1890743"/>
                <a:gd name="connsiteY4" fmla="*/ 0 h 1927250"/>
                <a:gd name="connsiteX0" fmla="*/ 531821 w 1890743"/>
                <a:gd name="connsiteY0" fmla="*/ 0 h 1931785"/>
                <a:gd name="connsiteX1" fmla="*/ 1315823 w 1890743"/>
                <a:gd name="connsiteY1" fmla="*/ 7844 h 1931785"/>
                <a:gd name="connsiteX2" fmla="*/ 1890743 w 1890743"/>
                <a:gd name="connsiteY2" fmla="*/ 1931149 h 1931785"/>
                <a:gd name="connsiteX3" fmla="*/ 0 w 1890743"/>
                <a:gd name="connsiteY3" fmla="*/ 1931785 h 1931785"/>
                <a:gd name="connsiteX4" fmla="*/ 531821 w 1890743"/>
                <a:gd name="connsiteY4" fmla="*/ 0 h 1931785"/>
                <a:gd name="connsiteX0" fmla="*/ 531821 w 1890743"/>
                <a:gd name="connsiteY0" fmla="*/ 0 h 1931785"/>
                <a:gd name="connsiteX1" fmla="*/ 1263437 w 1890743"/>
                <a:gd name="connsiteY1" fmla="*/ 7344 h 1931785"/>
                <a:gd name="connsiteX2" fmla="*/ 1890743 w 1890743"/>
                <a:gd name="connsiteY2" fmla="*/ 1931149 h 1931785"/>
                <a:gd name="connsiteX3" fmla="*/ 0 w 1890743"/>
                <a:gd name="connsiteY3" fmla="*/ 1931785 h 1931785"/>
                <a:gd name="connsiteX4" fmla="*/ 531821 w 1890743"/>
                <a:gd name="connsiteY4" fmla="*/ 0 h 1931785"/>
                <a:gd name="connsiteX0" fmla="*/ 531821 w 1781210"/>
                <a:gd name="connsiteY0" fmla="*/ 0 h 1931785"/>
                <a:gd name="connsiteX1" fmla="*/ 1263437 w 1781210"/>
                <a:gd name="connsiteY1" fmla="*/ 7344 h 1931785"/>
                <a:gd name="connsiteX2" fmla="*/ 1781210 w 1781210"/>
                <a:gd name="connsiteY2" fmla="*/ 1930103 h 1931785"/>
                <a:gd name="connsiteX3" fmla="*/ 0 w 1781210"/>
                <a:gd name="connsiteY3" fmla="*/ 1931785 h 1931785"/>
                <a:gd name="connsiteX4" fmla="*/ 531821 w 1781210"/>
                <a:gd name="connsiteY4" fmla="*/ 0 h 1931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210" h="1931785">
                  <a:moveTo>
                    <a:pt x="531821" y="0"/>
                  </a:moveTo>
                  <a:lnTo>
                    <a:pt x="1263437" y="7344"/>
                  </a:lnTo>
                  <a:lnTo>
                    <a:pt x="1781210" y="1930103"/>
                  </a:lnTo>
                  <a:lnTo>
                    <a:pt x="0" y="1931785"/>
                  </a:lnTo>
                  <a:lnTo>
                    <a:pt x="531821" y="0"/>
                  </a:lnTo>
                  <a:close/>
                </a:path>
              </a:pathLst>
            </a:custGeom>
            <a:solidFill>
              <a:schemeClr val="bg1">
                <a:alpha val="96000"/>
              </a:schemeClr>
            </a:solidFill>
            <a:ln>
              <a:noFill/>
            </a:ln>
            <a:effectLst>
              <a:innerShdw blurRad="1778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a:p>
              <a:pPr algn="ctr"/>
              <a:endParaRPr lang="en-US" dirty="0">
                <a:solidFill>
                  <a:schemeClr val="tx1"/>
                </a:solidFill>
              </a:endParaRPr>
            </a:p>
            <a:p>
              <a:pPr algn="ctr"/>
              <a:r>
                <a:rPr lang="en-US" sz="1500" dirty="0" smtClean="0">
                  <a:solidFill>
                    <a:schemeClr val="tx1"/>
                  </a:solidFill>
                </a:rPr>
                <a:t>Analyze and</a:t>
              </a:r>
            </a:p>
            <a:p>
              <a:pPr algn="ctr"/>
              <a:r>
                <a:rPr lang="en-US" sz="1500" dirty="0" smtClean="0">
                  <a:solidFill>
                    <a:schemeClr val="tx1"/>
                  </a:solidFill>
                </a:rPr>
                <a:t>Propose new </a:t>
              </a:r>
            </a:p>
            <a:p>
              <a:pPr algn="ctr"/>
              <a:r>
                <a:rPr lang="en-US" sz="1500" dirty="0" smtClean="0">
                  <a:solidFill>
                    <a:schemeClr val="tx1"/>
                  </a:solidFill>
                </a:rPr>
                <a:t>Systems and </a:t>
              </a:r>
            </a:p>
            <a:p>
              <a:pPr algn="ctr"/>
              <a:r>
                <a:rPr lang="en-US" sz="1500" dirty="0" smtClean="0">
                  <a:solidFill>
                    <a:schemeClr val="tx1"/>
                  </a:solidFill>
                </a:rPr>
                <a:t> improvement</a:t>
              </a:r>
            </a:p>
            <a:p>
              <a:pPr algn="ctr"/>
              <a:r>
                <a:rPr lang="en-US" sz="1500" dirty="0" smtClean="0">
                  <a:solidFill>
                    <a:schemeClr val="tx1"/>
                  </a:solidFill>
                </a:rPr>
                <a:t>Methods.</a:t>
              </a:r>
            </a:p>
            <a:p>
              <a:pPr algn="ctr"/>
              <a:endParaRPr lang="en-US" dirty="0">
                <a:solidFill>
                  <a:schemeClr val="tx1"/>
                </a:solidFill>
              </a:endParaRPr>
            </a:p>
          </p:txBody>
        </p:sp>
      </p:grpSp>
      <p:grpSp>
        <p:nvGrpSpPr>
          <p:cNvPr id="6" name="Group 5"/>
          <p:cNvGrpSpPr/>
          <p:nvPr/>
        </p:nvGrpSpPr>
        <p:grpSpPr>
          <a:xfrm>
            <a:off x="6281846" y="1305475"/>
            <a:ext cx="1783442" cy="2633994"/>
            <a:chOff x="5614946" y="1271397"/>
            <a:chExt cx="1783442" cy="2633994"/>
          </a:xfrm>
        </p:grpSpPr>
        <p:sp>
          <p:nvSpPr>
            <p:cNvPr id="55" name="Left Arrow Callout 54"/>
            <p:cNvSpPr/>
            <p:nvPr/>
          </p:nvSpPr>
          <p:spPr>
            <a:xfrm rot="4140000" flipH="1">
              <a:off x="5189670" y="1696673"/>
              <a:ext cx="2633994" cy="1783442"/>
            </a:xfrm>
            <a:prstGeom prst="leftArrowCallout">
              <a:avLst>
                <a:gd name="adj1" fmla="val 33956"/>
                <a:gd name="adj2" fmla="val 25000"/>
                <a:gd name="adj3" fmla="val 25000"/>
                <a:gd name="adj4" fmla="val 77422"/>
              </a:avLst>
            </a:prstGeom>
            <a:ln/>
          </p:spPr>
          <p:style>
            <a:lnRef idx="3">
              <a:schemeClr val="lt1"/>
            </a:lnRef>
            <a:fillRef idx="1">
              <a:schemeClr val="dk1"/>
            </a:fillRef>
            <a:effectRef idx="1">
              <a:schemeClr val="dk1"/>
            </a:effectRef>
            <a:fontRef idx="minor">
              <a:schemeClr val="lt1"/>
            </a:fontRef>
          </p:style>
          <p:txBody>
            <a:bodyPr rtlCol="0" anchor="ctr"/>
            <a:lstStyle/>
            <a:p>
              <a:pPr algn="ctr"/>
              <a:endParaRPr lang="en-US" sz="2000" dirty="0"/>
            </a:p>
          </p:txBody>
        </p:sp>
        <p:sp>
          <p:nvSpPr>
            <p:cNvPr id="57" name="Rectangle 56"/>
            <p:cNvSpPr/>
            <p:nvPr/>
          </p:nvSpPr>
          <p:spPr>
            <a:xfrm rot="15000266">
              <a:off x="5567212" y="1605824"/>
              <a:ext cx="1745344" cy="1403714"/>
            </a:xfrm>
            <a:prstGeom prst="rect">
              <a:avLst/>
            </a:prstGeom>
            <a:solidFill>
              <a:schemeClr val="bg1">
                <a:alpha val="96000"/>
              </a:schemeClr>
            </a:solidFill>
            <a:ln>
              <a:noFill/>
            </a:ln>
            <a:effectLst>
              <a:innerShdw blurRad="1778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500" dirty="0" smtClean="0">
                  <a:solidFill>
                    <a:schemeClr val="tx1"/>
                  </a:solidFill>
                </a:rPr>
                <a:t>Any task related to Applications and Systems </a:t>
              </a:r>
            </a:p>
            <a:p>
              <a:pPr algn="ctr"/>
              <a:r>
                <a:rPr lang="en-US" sz="1500" dirty="0" smtClean="0">
                  <a:solidFill>
                    <a:schemeClr val="tx1"/>
                  </a:solidFill>
                </a:rPr>
                <a:t>Standards</a:t>
              </a:r>
              <a:r>
                <a:rPr lang="en-US" dirty="0" smtClean="0">
                  <a:solidFill>
                    <a:schemeClr val="tx1"/>
                  </a:solidFill>
                </a:rPr>
                <a:t>.</a:t>
              </a:r>
              <a:endParaRPr lang="en-US" dirty="0">
                <a:solidFill>
                  <a:schemeClr val="tx1"/>
                </a:solidFill>
              </a:endParaRPr>
            </a:p>
          </p:txBody>
        </p:sp>
      </p:grpSp>
      <p:grpSp>
        <p:nvGrpSpPr>
          <p:cNvPr id="4" name="Group 3"/>
          <p:cNvGrpSpPr/>
          <p:nvPr/>
        </p:nvGrpSpPr>
        <p:grpSpPr>
          <a:xfrm>
            <a:off x="2049712" y="1306946"/>
            <a:ext cx="1783442" cy="2637008"/>
            <a:chOff x="1539503" y="1252435"/>
            <a:chExt cx="1783442" cy="2637008"/>
          </a:xfrm>
        </p:grpSpPr>
        <p:sp>
          <p:nvSpPr>
            <p:cNvPr id="30" name="Left Arrow Callout 29"/>
            <p:cNvSpPr/>
            <p:nvPr/>
          </p:nvSpPr>
          <p:spPr>
            <a:xfrm rot="17419156">
              <a:off x="1112720" y="1679218"/>
              <a:ext cx="2637008" cy="1783442"/>
            </a:xfrm>
            <a:prstGeom prst="leftArrowCallout">
              <a:avLst>
                <a:gd name="adj1" fmla="val 33956"/>
                <a:gd name="adj2" fmla="val 25000"/>
                <a:gd name="adj3" fmla="val 25000"/>
                <a:gd name="adj4" fmla="val 77422"/>
              </a:avLst>
            </a:prstGeom>
            <a:ln/>
          </p:spPr>
          <p:style>
            <a:lnRef idx="1">
              <a:schemeClr val="accent2"/>
            </a:lnRef>
            <a:fillRef idx="3">
              <a:schemeClr val="accent2"/>
            </a:fillRef>
            <a:effectRef idx="2">
              <a:schemeClr val="accent2"/>
            </a:effectRef>
            <a:fontRef idx="minor">
              <a:schemeClr val="lt1"/>
            </a:fontRef>
          </p:style>
          <p:txBody>
            <a:bodyPr wrap="square" lIns="0" tIns="0" rIns="0" bIns="0" rtlCol="0" anchor="ctr"/>
            <a:lstStyle/>
            <a:p>
              <a:pPr algn="ctr"/>
              <a:endParaRPr lang="en-US" sz="2000" dirty="0"/>
            </a:p>
          </p:txBody>
        </p:sp>
        <p:sp>
          <p:nvSpPr>
            <p:cNvPr id="54" name="Rectangle 53"/>
            <p:cNvSpPr/>
            <p:nvPr/>
          </p:nvSpPr>
          <p:spPr>
            <a:xfrm rot="17419032">
              <a:off x="1657828" y="1566992"/>
              <a:ext cx="1754531" cy="1403714"/>
            </a:xfrm>
            <a:prstGeom prst="rect">
              <a:avLst/>
            </a:prstGeom>
            <a:solidFill>
              <a:schemeClr val="bg1">
                <a:alpha val="96000"/>
              </a:schemeClr>
            </a:solidFill>
            <a:ln>
              <a:noFill/>
            </a:ln>
            <a:effectLst>
              <a:innerShdw blurRad="1778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0" bIns="0" rtlCol="0" anchor="ctr"/>
            <a:lstStyle/>
            <a:p>
              <a:pPr algn="ctr"/>
              <a:r>
                <a:rPr lang="en-US" sz="1500" dirty="0" smtClean="0">
                  <a:solidFill>
                    <a:schemeClr val="tx1"/>
                  </a:solidFill>
                </a:rPr>
                <a:t>Evaluate current</a:t>
              </a:r>
            </a:p>
            <a:p>
              <a:pPr algn="ctr"/>
              <a:r>
                <a:rPr lang="en-US" sz="1500" dirty="0" smtClean="0">
                  <a:solidFill>
                    <a:schemeClr val="tx1"/>
                  </a:solidFill>
                </a:rPr>
                <a:t>Work systems</a:t>
              </a:r>
            </a:p>
            <a:p>
              <a:pPr algn="ctr"/>
              <a:r>
                <a:rPr lang="en-US" sz="1500" dirty="0" smtClean="0">
                  <a:solidFill>
                    <a:schemeClr val="tx1"/>
                  </a:solidFill>
                </a:rPr>
                <a:t>In government </a:t>
              </a:r>
            </a:p>
            <a:p>
              <a:pPr algn="ctr"/>
              <a:r>
                <a:rPr lang="en-US" sz="1500" dirty="0" smtClean="0">
                  <a:solidFill>
                    <a:schemeClr val="tx1"/>
                  </a:solidFill>
                </a:rPr>
                <a:t>Sector.</a:t>
              </a:r>
            </a:p>
            <a:p>
              <a:pPr algn="ctr"/>
              <a:r>
                <a:rPr lang="en-US" dirty="0" smtClean="0">
                  <a:solidFill>
                    <a:srgbClr val="FF0000"/>
                  </a:solidFill>
                </a:rPr>
                <a:t> </a:t>
              </a:r>
              <a:endParaRPr lang="en-US" dirty="0">
                <a:solidFill>
                  <a:srgbClr val="FF0000"/>
                </a:solidFill>
              </a:endParaRPr>
            </a:p>
          </p:txBody>
        </p:sp>
      </p:grpSp>
      <p:sp>
        <p:nvSpPr>
          <p:cNvPr id="63" name="Rectangle 62"/>
          <p:cNvSpPr/>
          <p:nvPr/>
        </p:nvSpPr>
        <p:spPr>
          <a:xfrm rot="1198416" flipH="1">
            <a:off x="2331323" y="1771433"/>
            <a:ext cx="1194538" cy="1539635"/>
          </a:xfrm>
          <a:prstGeom prst="rect">
            <a:avLst/>
          </a:prstGeom>
          <a:noFill/>
          <a:ln w="25400" cap="flat" cmpd="sng" algn="ctr">
            <a:noFill/>
            <a:prstDash val="solid"/>
          </a:ln>
          <a:effectLst/>
          <a:scene3d>
            <a:camera prst="orthographicFront"/>
            <a:lightRig rig="threePt" dir="t"/>
          </a:scene3d>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4625" marR="0" lvl="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tx1">
                  <a:lumMod val="65000"/>
                  <a:lumOff val="35000"/>
                </a:schemeClr>
              </a:solidFill>
              <a:effectLst/>
              <a:uLnTx/>
              <a:uFillTx/>
              <a:latin typeface="Arial" pitchFamily="34" charset="0"/>
              <a:ea typeface="+mn-ea"/>
              <a:cs typeface="Arial" pitchFamily="34" charset="0"/>
            </a:endParaRPr>
          </a:p>
        </p:txBody>
      </p:sp>
      <p:sp>
        <p:nvSpPr>
          <p:cNvPr id="64" name="Rectangle 63"/>
          <p:cNvSpPr/>
          <p:nvPr/>
        </p:nvSpPr>
        <p:spPr>
          <a:xfrm rot="1198416" flipH="1">
            <a:off x="1981856" y="1455171"/>
            <a:ext cx="1443337" cy="1295360"/>
          </a:xfrm>
          <a:prstGeom prst="rect">
            <a:avLst/>
          </a:prstGeom>
          <a:noFill/>
          <a:ln w="12700" cap="flat" cmpd="sng" algn="ctr">
            <a:noFill/>
            <a:prstDash val="solid"/>
          </a:ln>
          <a:effectLst/>
          <a:scene3d>
            <a:camera prst="orthographicFront"/>
            <a:lightRig rig="threePt" dir="t"/>
          </a:scene3d>
          <a:sp3d/>
        </p:spPr>
        <p:txBody>
          <a:bodyPr lIns="91440" tIns="0" rIns="91440" bIns="0" rtlCol="0" anchor="t"/>
          <a:lstStyle/>
          <a:p>
            <a:pPr>
              <a:defRPr/>
            </a:pPr>
            <a:endParaRPr lang="en-US" sz="1050" kern="0" dirty="0">
              <a:solidFill>
                <a:schemeClr val="tx1">
                  <a:lumMod val="65000"/>
                  <a:lumOff val="35000"/>
                </a:schemeClr>
              </a:solidFill>
              <a:latin typeface="Arial" pitchFamily="34" charset="0"/>
              <a:cs typeface="Arial" pitchFamily="34" charset="0"/>
            </a:endParaRPr>
          </a:p>
        </p:txBody>
      </p:sp>
      <p:sp>
        <p:nvSpPr>
          <p:cNvPr id="31" name="Rectangle 30"/>
          <p:cNvSpPr/>
          <p:nvPr/>
        </p:nvSpPr>
        <p:spPr>
          <a:xfrm rot="1198416" flipH="1">
            <a:off x="2263514" y="1773958"/>
            <a:ext cx="1443337" cy="1727147"/>
          </a:xfrm>
          <a:prstGeom prst="rect">
            <a:avLst/>
          </a:prstGeom>
          <a:noFill/>
          <a:ln w="12700" cap="flat" cmpd="sng" algn="ctr">
            <a:noFill/>
            <a:prstDash val="solid"/>
          </a:ln>
          <a:effectLst/>
          <a:scene3d>
            <a:camera prst="orthographicFront"/>
            <a:lightRig rig="threePt" dir="t"/>
          </a:scene3d>
          <a:sp3d/>
        </p:spPr>
        <p:txBody>
          <a:bodyPr lIns="91440" tIns="0" rIns="91440" bIns="0" rtlCol="0" anchor="t"/>
          <a:lstStyle/>
          <a:p>
            <a:pPr>
              <a:defRPr/>
            </a:pPr>
            <a:endParaRPr lang="en-US" sz="1050" kern="0" dirty="0">
              <a:solidFill>
                <a:schemeClr val="tx1">
                  <a:lumMod val="65000"/>
                  <a:lumOff val="35000"/>
                </a:schemeClr>
              </a:solidFill>
              <a:latin typeface="Arial" pitchFamily="34" charset="0"/>
              <a:cs typeface="Arial" pitchFamily="34" charset="0"/>
            </a:endParaRPr>
          </a:p>
        </p:txBody>
      </p:sp>
      <p:sp>
        <p:nvSpPr>
          <p:cNvPr id="33" name="TextBox 32"/>
          <p:cNvSpPr txBox="1"/>
          <p:nvPr/>
        </p:nvSpPr>
        <p:spPr>
          <a:xfrm rot="20234093">
            <a:off x="7068312" y="3016826"/>
            <a:ext cx="648468" cy="343189"/>
          </a:xfrm>
          <a:prstGeom prst="ellipse">
            <a:avLst/>
          </a:prstGeom>
          <a:noFill/>
        </p:spPr>
        <p:txBody>
          <a:bodyPr wrap="none" lIns="0" tIns="0" rIns="0" bIns="0" rtlCol="0">
            <a:noAutofit/>
          </a:bodyPr>
          <a:lstStyle/>
          <a:p>
            <a:pPr algn="ctr"/>
            <a:r>
              <a:rPr lang="en-US" sz="5400" b="1" dirty="0">
                <a:ln w="1270" cmpd="sng">
                  <a:solidFill>
                    <a:schemeClr val="bg1">
                      <a:lumMod val="75000"/>
                    </a:schemeClr>
                  </a:solidFill>
                  <a:prstDash val="solid"/>
                </a:ln>
                <a:solidFill>
                  <a:schemeClr val="bg1"/>
                </a:solidFill>
                <a:effectLst>
                  <a:innerShdw blurRad="114300">
                    <a:prstClr val="black"/>
                  </a:innerShdw>
                </a:effectLst>
                <a:latin typeface="Impact" pitchFamily="34" charset="0"/>
              </a:rPr>
              <a:t>3</a:t>
            </a:r>
          </a:p>
        </p:txBody>
      </p:sp>
      <p:sp>
        <p:nvSpPr>
          <p:cNvPr id="10" name="Rectangle 9"/>
          <p:cNvSpPr/>
          <p:nvPr/>
        </p:nvSpPr>
        <p:spPr>
          <a:xfrm>
            <a:off x="4741931" y="3658664"/>
            <a:ext cx="569387" cy="923330"/>
          </a:xfrm>
          <a:prstGeom prst="rect">
            <a:avLst/>
          </a:prstGeom>
          <a:noFill/>
        </p:spPr>
        <p:txBody>
          <a:bodyPr wrap="none" lIns="91440" tIns="45720" rIns="91440" bIns="45720">
            <a:spAutoFit/>
          </a:bodyPr>
          <a:lstStyle/>
          <a:p>
            <a:pPr algn="ctr"/>
            <a:r>
              <a:rPr lang="en-US" sz="5400" b="1" cap="none" spc="0" dirty="0" smtClean="0">
                <a:ln w="24500" cmpd="dbl">
                  <a:solidFill>
                    <a:schemeClr val="accent2">
                      <a:shade val="85000"/>
                      <a:satMod val="155000"/>
                    </a:schemeClr>
                  </a:solidFill>
                  <a:prstDash val="solid"/>
                  <a:miter lim="800000"/>
                </a:ln>
                <a:gradFill>
                  <a:gsLst>
                    <a:gs pos="10000">
                      <a:schemeClr val="accent2">
                        <a:tint val="10000"/>
                        <a:satMod val="155000"/>
                      </a:schemeClr>
                    </a:gs>
                    <a:gs pos="60000">
                      <a:schemeClr val="accent2">
                        <a:tint val="30000"/>
                        <a:satMod val="155000"/>
                      </a:schemeClr>
                    </a:gs>
                    <a:gs pos="100000">
                      <a:schemeClr val="accent2">
                        <a:tint val="73000"/>
                        <a:satMod val="155000"/>
                      </a:schemeClr>
                    </a:gs>
                  </a:gsLst>
                  <a:lin ang="5400000"/>
                </a:gradFill>
                <a:effectLst>
                  <a:outerShdw blurRad="38100" dist="38100" dir="7020000" algn="tl">
                    <a:srgbClr val="000000">
                      <a:alpha val="35000"/>
                    </a:srgbClr>
                  </a:outerShdw>
                </a:effectLst>
              </a:rPr>
              <a:t>2</a:t>
            </a:r>
            <a:endParaRPr lang="en-US" sz="5400" b="1" cap="none" spc="0" dirty="0">
              <a:ln w="24500" cmpd="dbl">
                <a:solidFill>
                  <a:schemeClr val="accent2">
                    <a:shade val="85000"/>
                    <a:satMod val="155000"/>
                  </a:schemeClr>
                </a:solidFill>
                <a:prstDash val="solid"/>
                <a:miter lim="800000"/>
              </a:ln>
              <a:gradFill>
                <a:gsLst>
                  <a:gs pos="10000">
                    <a:schemeClr val="accent2">
                      <a:tint val="10000"/>
                      <a:satMod val="155000"/>
                    </a:schemeClr>
                  </a:gs>
                  <a:gs pos="60000">
                    <a:schemeClr val="accent2">
                      <a:tint val="30000"/>
                      <a:satMod val="155000"/>
                    </a:schemeClr>
                  </a:gs>
                  <a:gs pos="100000">
                    <a:schemeClr val="accent2">
                      <a:tint val="73000"/>
                      <a:satMod val="155000"/>
                    </a:schemeClr>
                  </a:gs>
                </a:gsLst>
                <a:lin ang="5400000"/>
              </a:gradFill>
              <a:effectLst>
                <a:outerShdw blurRad="38100" dist="38100" dir="7020000" algn="tl">
                  <a:srgbClr val="000000">
                    <a:alpha val="35000"/>
                  </a:srgbClr>
                </a:outerShdw>
              </a:effectLst>
            </a:endParaRPr>
          </a:p>
        </p:txBody>
      </p:sp>
      <p:sp>
        <p:nvSpPr>
          <p:cNvPr id="37" name="TextBox 36"/>
          <p:cNvSpPr txBox="1"/>
          <p:nvPr/>
        </p:nvSpPr>
        <p:spPr>
          <a:xfrm rot="1135166">
            <a:off x="2320666" y="2993773"/>
            <a:ext cx="648468" cy="595470"/>
          </a:xfrm>
          <a:prstGeom prst="ellipse">
            <a:avLst/>
          </a:prstGeom>
          <a:noFill/>
          <a:scene3d>
            <a:camera prst="orthographicFront"/>
            <a:lightRig rig="threePt" dir="t"/>
          </a:scene3d>
          <a:sp3d/>
        </p:spPr>
        <p:txBody>
          <a:bodyPr wrap="none" lIns="0" tIns="0" rIns="0" bIns="0" rtlCol="0">
            <a:noAutofit/>
          </a:bodyPr>
          <a:lstStyle/>
          <a:p>
            <a:pPr algn="ctr"/>
            <a:r>
              <a:rPr lang="en-US" sz="5400" b="1" dirty="0" smtClean="0">
                <a:ln w="1270" cmpd="sng">
                  <a:solidFill>
                    <a:schemeClr val="bg1">
                      <a:lumMod val="75000"/>
                    </a:schemeClr>
                  </a:solidFill>
                  <a:prstDash val="solid"/>
                </a:ln>
                <a:solidFill>
                  <a:schemeClr val="bg1"/>
                </a:solidFill>
                <a:effectLst>
                  <a:innerShdw blurRad="114300">
                    <a:prstClr val="black"/>
                  </a:innerShdw>
                </a:effectLst>
                <a:latin typeface="Impact" pitchFamily="34" charset="0"/>
              </a:rPr>
              <a:t>1</a:t>
            </a:r>
            <a:endParaRPr lang="en-US" sz="5400" b="1" dirty="0">
              <a:ln w="1270" cmpd="sng">
                <a:solidFill>
                  <a:schemeClr val="bg1">
                    <a:lumMod val="75000"/>
                  </a:schemeClr>
                </a:solidFill>
                <a:prstDash val="solid"/>
              </a:ln>
              <a:solidFill>
                <a:schemeClr val="bg1"/>
              </a:solidFill>
              <a:effectLst>
                <a:innerShdw blurRad="114300">
                  <a:prstClr val="black"/>
                </a:innerShdw>
              </a:effectLst>
              <a:latin typeface="Impact" pitchFamily="34" charset="0"/>
            </a:endParaRPr>
          </a:p>
        </p:txBody>
      </p:sp>
      <p:sp>
        <p:nvSpPr>
          <p:cNvPr id="13" name="Slide Number Placeholder 12"/>
          <p:cNvSpPr>
            <a:spLocks noGrp="1"/>
          </p:cNvSpPr>
          <p:nvPr>
            <p:ph type="sldNum" idx="12"/>
          </p:nvPr>
        </p:nvSpPr>
        <p:spPr/>
        <p:txBody>
          <a:bodyPr/>
          <a:lstStyle/>
          <a:p>
            <a:pPr marL="0" lvl="0" indent="0">
              <a:spcBef>
                <a:spcPts val="0"/>
              </a:spcBef>
              <a:spcAft>
                <a:spcPts val="0"/>
              </a:spcAft>
              <a:buNone/>
            </a:pPr>
            <a:fld id="{00000000-1234-1234-1234-123412341234}" type="slidenum">
              <a:rPr lang="en" smtClean="0"/>
              <a:t>4</a:t>
            </a:fld>
            <a:endParaRPr lang="en"/>
          </a:p>
        </p:txBody>
      </p:sp>
    </p:spTree>
    <p:extLst>
      <p:ext uri="{BB962C8B-B14F-4D97-AF65-F5344CB8AC3E}">
        <p14:creationId xmlns:p14="http://schemas.microsoft.com/office/powerpoint/2010/main" val="2985329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idx="12"/>
          </p:nvPr>
        </p:nvSpPr>
        <p:spPr/>
        <p:txBody>
          <a:bodyPr/>
          <a:lstStyle/>
          <a:p>
            <a:pPr>
              <a:defRPr/>
            </a:pPr>
            <a:fld id="{CF61FEA9-21D0-466D-A692-93066E95BE27}" type="slidenum">
              <a:rPr lang="en-US" altLang="ja-JP" smtClean="0"/>
              <a:pPr>
                <a:defRPr/>
              </a:pPr>
              <a:t>5</a:t>
            </a:fld>
            <a:endParaRPr lang="en-US" altLang="ja-JP"/>
          </a:p>
        </p:txBody>
      </p:sp>
      <p:sp>
        <p:nvSpPr>
          <p:cNvPr id="7" name="Title 6"/>
          <p:cNvSpPr>
            <a:spLocks noGrp="1"/>
          </p:cNvSpPr>
          <p:nvPr>
            <p:ph type="title" idx="4294967295"/>
          </p:nvPr>
        </p:nvSpPr>
        <p:spPr>
          <a:xfrm>
            <a:off x="838200" y="19050"/>
            <a:ext cx="6724650" cy="749300"/>
          </a:xfrm>
        </p:spPr>
        <p:txBody>
          <a:bodyPr>
            <a:normAutofit/>
          </a:bodyPr>
          <a:lstStyle/>
          <a:p>
            <a:pPr marL="137160" indent="0" algn="ctr"/>
            <a:r>
              <a:rPr lang="en-US" b="1" dirty="0">
                <a:solidFill>
                  <a:schemeClr val="tx1"/>
                </a:solidFill>
                <a:cs typeface="Arial" panose="020B0604020202020204" pitchFamily="34" charset="0"/>
              </a:rPr>
              <a:t>Background of My Action </a:t>
            </a:r>
            <a:r>
              <a:rPr lang="en-US" b="1" dirty="0" smtClean="0">
                <a:solidFill>
                  <a:schemeClr val="tx1"/>
                </a:solidFill>
                <a:cs typeface="Arial" panose="020B0604020202020204" pitchFamily="34" charset="0"/>
              </a:rPr>
              <a:t>Plan(3/3)</a:t>
            </a:r>
            <a:endParaRPr lang="en-US" b="1" dirty="0">
              <a:solidFill>
                <a:schemeClr val="tx1"/>
              </a:solidFill>
              <a:cs typeface="Arial" panose="020B0604020202020204" pitchFamily="34" charset="0"/>
            </a:endParaRPr>
          </a:p>
        </p:txBody>
      </p:sp>
      <p:graphicFrame>
        <p:nvGraphicFramePr>
          <p:cNvPr id="12" name="Diagram 11"/>
          <p:cNvGraphicFramePr/>
          <p:nvPr>
            <p:extLst>
              <p:ext uri="{D42A27DB-BD31-4B8C-83A1-F6EECF244321}">
                <p14:modId xmlns:p14="http://schemas.microsoft.com/office/powerpoint/2010/main" val="3511280582"/>
              </p:ext>
            </p:extLst>
          </p:nvPr>
        </p:nvGraphicFramePr>
        <p:xfrm>
          <a:off x="1143000" y="819150"/>
          <a:ext cx="6096000" cy="35555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Rectangle 34"/>
          <p:cNvSpPr>
            <a:spLocks noChangeArrowheads="1"/>
          </p:cNvSpPr>
          <p:nvPr/>
        </p:nvSpPr>
        <p:spPr bwMode="auto">
          <a:xfrm>
            <a:off x="741062" y="2575066"/>
            <a:ext cx="6724650" cy="1870813"/>
          </a:xfrm>
          <a:prstGeom prst="rect">
            <a:avLst/>
          </a:prstGeom>
          <a:noFill/>
          <a:ln w="38100">
            <a:solidFill>
              <a:srgbClr val="FF6600"/>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lIns="68580" tIns="34290" rIns="68580" bIns="34290" anchor="ct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pPr eaLnBrk="1" hangingPunct="1"/>
            <a:endParaRPr lang="ja-JP" altLang="en-US"/>
          </a:p>
        </p:txBody>
      </p:sp>
      <p:sp>
        <p:nvSpPr>
          <p:cNvPr id="14" name="TextBox 2"/>
          <p:cNvSpPr txBox="1">
            <a:spLocks noChangeArrowheads="1"/>
          </p:cNvSpPr>
          <p:nvPr/>
        </p:nvSpPr>
        <p:spPr bwMode="auto">
          <a:xfrm>
            <a:off x="914400" y="2223656"/>
            <a:ext cx="100726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1200" b="1" dirty="0"/>
              <a:t>AP Scope</a:t>
            </a:r>
          </a:p>
        </p:txBody>
      </p:sp>
      <p:sp>
        <p:nvSpPr>
          <p:cNvPr id="15" name="左矢印 32"/>
          <p:cNvSpPr>
            <a:spLocks noChangeArrowheads="1"/>
          </p:cNvSpPr>
          <p:nvPr/>
        </p:nvSpPr>
        <p:spPr bwMode="auto">
          <a:xfrm>
            <a:off x="4594283" y="3092564"/>
            <a:ext cx="685800" cy="278606"/>
          </a:xfrm>
          <a:prstGeom prst="leftArrow">
            <a:avLst>
              <a:gd name="adj1" fmla="val 50000"/>
              <a:gd name="adj2" fmla="val 29550"/>
            </a:avLst>
          </a:prstGeom>
          <a:solidFill>
            <a:schemeClr val="accent1"/>
          </a:solidFill>
          <a:ln w="9525" algn="ctr">
            <a:solidFill>
              <a:schemeClr val="tx1"/>
            </a:solidFill>
            <a:round/>
            <a:headEnd/>
            <a:tailEnd/>
          </a:ln>
        </p:spPr>
        <p:txBody>
          <a:bodyPr lIns="68580" tIns="0" rIns="68580" bIns="34290"/>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r>
              <a:rPr lang="en-US" altLang="ja-JP" sz="800" b="1" dirty="0"/>
              <a:t>authorizer</a:t>
            </a:r>
            <a:endParaRPr lang="ja-JP" altLang="en-US" sz="800" b="1" dirty="0"/>
          </a:p>
        </p:txBody>
      </p:sp>
      <p:sp>
        <p:nvSpPr>
          <p:cNvPr id="16" name="左矢印 32"/>
          <p:cNvSpPr>
            <a:spLocks noChangeArrowheads="1"/>
          </p:cNvSpPr>
          <p:nvPr/>
        </p:nvSpPr>
        <p:spPr bwMode="auto">
          <a:xfrm rot="16048687">
            <a:off x="3296537" y="1177529"/>
            <a:ext cx="685800" cy="285750"/>
          </a:xfrm>
          <a:prstGeom prst="leftArrow">
            <a:avLst>
              <a:gd name="adj1" fmla="val 50000"/>
              <a:gd name="adj2" fmla="val 29533"/>
            </a:avLst>
          </a:prstGeom>
          <a:solidFill>
            <a:schemeClr val="accent1"/>
          </a:solidFill>
          <a:ln w="9525" algn="ctr">
            <a:solidFill>
              <a:schemeClr val="tx1"/>
            </a:solidFill>
            <a:round/>
            <a:headEnd/>
            <a:tailEnd/>
          </a:ln>
        </p:spPr>
        <p:txBody>
          <a:bodyPr lIns="68580" tIns="0" rIns="68580" bIns="34290"/>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r>
              <a:rPr lang="en-US" altLang="ja-JP" sz="800" b="1" dirty="0"/>
              <a:t>authorizer</a:t>
            </a:r>
            <a:endParaRPr lang="ja-JP" altLang="en-US" sz="800" b="1" dirty="0"/>
          </a:p>
        </p:txBody>
      </p:sp>
    </p:spTree>
    <p:extLst>
      <p:ext uri="{BB962C8B-B14F-4D97-AF65-F5344CB8AC3E}">
        <p14:creationId xmlns:p14="http://schemas.microsoft.com/office/powerpoint/2010/main" val="11754566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914400" y="249379"/>
            <a:ext cx="7315200" cy="461665"/>
          </a:xfrm>
          <a:prstGeom prst="rect">
            <a:avLst/>
          </a:prstGeom>
          <a:noFill/>
        </p:spPr>
        <p:txBody>
          <a:bodyPr wrap="square" rtlCol="0">
            <a:spAutoFit/>
          </a:bodyPr>
          <a:lstStyle/>
          <a:p>
            <a:pPr algn="ctr" eaLnBrk="1" hangingPunct="1">
              <a:spcBef>
                <a:spcPct val="0"/>
              </a:spcBef>
              <a:buFontTx/>
              <a:buNone/>
            </a:pPr>
            <a:r>
              <a:rPr lang="en-US" altLang="ja-JP" sz="2400" b="1" dirty="0" smtClean="0">
                <a:solidFill>
                  <a:schemeClr val="bg1"/>
                </a:solidFill>
                <a:latin typeface="Dosis"/>
              </a:rPr>
              <a:t> </a:t>
            </a:r>
            <a:r>
              <a:rPr lang="en-US" altLang="ja-JP" sz="2400" b="1" dirty="0">
                <a:solidFill>
                  <a:schemeClr val="bg1"/>
                </a:solidFill>
                <a:latin typeface="Dosis"/>
              </a:rPr>
              <a:t>P</a:t>
            </a:r>
            <a:r>
              <a:rPr lang="en-US" altLang="ja-JP" sz="2400" b="1" dirty="0" smtClean="0">
                <a:solidFill>
                  <a:schemeClr val="bg1"/>
                </a:solidFill>
                <a:latin typeface="Dosis"/>
              </a:rPr>
              <a:t>roblems  (1/2)</a:t>
            </a:r>
            <a:endParaRPr lang="en-US" altLang="ja-JP" sz="2400" b="1" dirty="0">
              <a:solidFill>
                <a:schemeClr val="bg1"/>
              </a:solidFill>
              <a:latin typeface="Dosis"/>
            </a:endParaRPr>
          </a:p>
        </p:txBody>
      </p:sp>
      <p:grpSp>
        <p:nvGrpSpPr>
          <p:cNvPr id="3" name="Group 2"/>
          <p:cNvGrpSpPr/>
          <p:nvPr/>
        </p:nvGrpSpPr>
        <p:grpSpPr>
          <a:xfrm>
            <a:off x="3083876" y="1080376"/>
            <a:ext cx="1965739" cy="1683949"/>
            <a:chOff x="3763693" y="1646639"/>
            <a:chExt cx="1524000" cy="1314450"/>
          </a:xfrm>
        </p:grpSpPr>
        <p:sp>
          <p:nvSpPr>
            <p:cNvPr id="20" name="Wave 19"/>
            <p:cNvSpPr/>
            <p:nvPr/>
          </p:nvSpPr>
          <p:spPr>
            <a:xfrm rot="5400000">
              <a:off x="3868468" y="1541864"/>
              <a:ext cx="1314450" cy="1524000"/>
            </a:xfrm>
            <a:prstGeom prst="wave">
              <a:avLst/>
            </a:prstGeom>
            <a:solidFill>
              <a:srgbClr val="FF6600"/>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p:cNvSpPr txBox="1"/>
            <p:nvPr/>
          </p:nvSpPr>
          <p:spPr>
            <a:xfrm>
              <a:off x="4070172" y="1760760"/>
              <a:ext cx="982606" cy="1153167"/>
            </a:xfrm>
            <a:prstGeom prst="rect">
              <a:avLst/>
            </a:prstGeom>
            <a:noFill/>
          </p:spPr>
          <p:txBody>
            <a:bodyPr wrap="square" rtlCol="0">
              <a:spAutoFit/>
            </a:bodyPr>
            <a:lstStyle/>
            <a:p>
              <a:pPr algn="ctr"/>
              <a:r>
                <a:rPr lang="en-US" altLang="ja-JP" sz="1500" dirty="0">
                  <a:solidFill>
                    <a:schemeClr val="bg1"/>
                  </a:solidFill>
                  <a:latin typeface="Arial" charset="0"/>
                  <a:ea typeface="ＭＳ Ｐゴシック" pitchFamily="50" charset="-128"/>
                </a:rPr>
                <a:t>Delay from </a:t>
              </a:r>
              <a:r>
                <a:rPr lang="en-US" altLang="ja-JP" sz="1500" dirty="0" smtClean="0">
                  <a:solidFill>
                    <a:schemeClr val="bg1"/>
                  </a:solidFill>
                  <a:latin typeface="Arial" charset="0"/>
                  <a:ea typeface="ＭＳ Ｐゴシック" pitchFamily="50" charset="-128"/>
                </a:rPr>
                <a:t>employees </a:t>
              </a:r>
              <a:r>
                <a:rPr lang="en-US" altLang="ja-JP" sz="1500" dirty="0">
                  <a:solidFill>
                    <a:schemeClr val="bg1"/>
                  </a:solidFill>
                  <a:latin typeface="Arial" charset="0"/>
                  <a:ea typeface="ＭＳ Ｐゴシック" pitchFamily="50" charset="-128"/>
                </a:rPr>
                <a:t>in the sharing and </a:t>
              </a:r>
              <a:r>
                <a:rPr lang="en-US" altLang="ja-JP" sz="1500" dirty="0" smtClean="0">
                  <a:solidFill>
                    <a:schemeClr val="bg1"/>
                  </a:solidFill>
                  <a:latin typeface="Arial" charset="0"/>
                  <a:ea typeface="ＭＳ Ｐゴシック" pitchFamily="50" charset="-128"/>
                </a:rPr>
                <a:t>execution</a:t>
              </a:r>
            </a:p>
            <a:p>
              <a:pPr algn="ctr"/>
              <a:r>
                <a:rPr lang="en-US" altLang="ja-JP" sz="1500" dirty="0" smtClean="0">
                  <a:solidFill>
                    <a:schemeClr val="bg1"/>
                  </a:solidFill>
                  <a:latin typeface="Arial" charset="0"/>
                  <a:ea typeface="ＭＳ Ｐゴシック" pitchFamily="50" charset="-128"/>
                </a:rPr>
                <a:t> </a:t>
              </a:r>
              <a:r>
                <a:rPr lang="en-US" altLang="ja-JP" sz="1500" dirty="0">
                  <a:solidFill>
                    <a:schemeClr val="bg1"/>
                  </a:solidFill>
                  <a:latin typeface="Arial" charset="0"/>
                  <a:ea typeface="ＭＳ Ｐゴシック" pitchFamily="50" charset="-128"/>
                </a:rPr>
                <a:t>of </a:t>
              </a:r>
              <a:r>
                <a:rPr lang="en-US" sz="1500" dirty="0" smtClean="0">
                  <a:solidFill>
                    <a:schemeClr val="bg1"/>
                  </a:solidFill>
                  <a:latin typeface="Arial" charset="0"/>
                  <a:ea typeface="ＭＳ Ｐゴシック" pitchFamily="50" charset="-128"/>
                </a:rPr>
                <a:t>tasks.</a:t>
              </a:r>
              <a:endParaRPr lang="en-US" sz="1500" dirty="0">
                <a:solidFill>
                  <a:schemeClr val="bg1"/>
                </a:solidFill>
              </a:endParaRPr>
            </a:p>
          </p:txBody>
        </p:sp>
      </p:grpSp>
      <p:grpSp>
        <p:nvGrpSpPr>
          <p:cNvPr id="2" name="Group 1"/>
          <p:cNvGrpSpPr/>
          <p:nvPr/>
        </p:nvGrpSpPr>
        <p:grpSpPr>
          <a:xfrm>
            <a:off x="4572000" y="2955673"/>
            <a:ext cx="2156517" cy="1771748"/>
            <a:chOff x="2059205" y="2282211"/>
            <a:chExt cx="1524000" cy="1314450"/>
          </a:xfrm>
        </p:grpSpPr>
        <p:sp>
          <p:nvSpPr>
            <p:cNvPr id="36" name="Wave 35"/>
            <p:cNvSpPr/>
            <p:nvPr/>
          </p:nvSpPr>
          <p:spPr>
            <a:xfrm rot="5400000">
              <a:off x="2163980" y="2177436"/>
              <a:ext cx="1314450" cy="1524000"/>
            </a:xfrm>
            <a:prstGeom prst="wave">
              <a:avLst/>
            </a:prstGeom>
            <a:solidFill>
              <a:schemeClr val="bg1">
                <a:lumMod val="6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p:nvSpPr>
          <p:spPr>
            <a:xfrm>
              <a:off x="2257427" y="2340968"/>
              <a:ext cx="1250348" cy="959019"/>
            </a:xfrm>
            <a:prstGeom prst="rect">
              <a:avLst/>
            </a:prstGeom>
            <a:noFill/>
          </p:spPr>
          <p:txBody>
            <a:bodyPr wrap="square" lIns="0" tIns="0" rIns="0" bIns="0" rtlCol="0">
              <a:spAutoFit/>
            </a:bodyPr>
            <a:lstStyle/>
            <a:p>
              <a:pPr algn="ctr"/>
              <a:r>
                <a:rPr lang="en-US" dirty="0" smtClean="0">
                  <a:solidFill>
                    <a:schemeClr val="tx1"/>
                  </a:solidFill>
                </a:rPr>
                <a:t>Unclear </a:t>
              </a:r>
            </a:p>
            <a:p>
              <a:pPr algn="ctr"/>
              <a:r>
                <a:rPr lang="en-US" dirty="0" smtClean="0">
                  <a:solidFill>
                    <a:schemeClr val="tx1"/>
                  </a:solidFill>
                </a:rPr>
                <a:t>requirements </a:t>
              </a:r>
            </a:p>
            <a:p>
              <a:pPr algn="ctr"/>
              <a:r>
                <a:rPr lang="en-US" dirty="0" smtClean="0">
                  <a:solidFill>
                    <a:schemeClr val="tx1"/>
                  </a:solidFill>
                </a:rPr>
                <a:t>for new</a:t>
              </a:r>
            </a:p>
            <a:p>
              <a:pPr algn="ctr"/>
              <a:r>
                <a:rPr lang="en-US" dirty="0" smtClean="0">
                  <a:solidFill>
                    <a:schemeClr val="tx1"/>
                  </a:solidFill>
                </a:rPr>
                <a:t> software or </a:t>
              </a:r>
            </a:p>
            <a:p>
              <a:pPr algn="ctr"/>
              <a:r>
                <a:rPr lang="en-US" dirty="0" smtClean="0">
                  <a:solidFill>
                    <a:schemeClr val="tx1"/>
                  </a:solidFill>
                </a:rPr>
                <a:t>proposed </a:t>
              </a:r>
            </a:p>
            <a:p>
              <a:pPr algn="ctr"/>
              <a:r>
                <a:rPr lang="en-US" dirty="0" smtClean="0">
                  <a:solidFill>
                    <a:schemeClr val="tx1"/>
                  </a:solidFill>
                </a:rPr>
                <a:t>systems.</a:t>
              </a:r>
              <a:endParaRPr lang="en-US" dirty="0">
                <a:solidFill>
                  <a:schemeClr val="tx1"/>
                </a:solidFill>
              </a:endParaRPr>
            </a:p>
          </p:txBody>
        </p:sp>
      </p:grpSp>
      <p:grpSp>
        <p:nvGrpSpPr>
          <p:cNvPr id="6" name="Group 5"/>
          <p:cNvGrpSpPr/>
          <p:nvPr/>
        </p:nvGrpSpPr>
        <p:grpSpPr>
          <a:xfrm>
            <a:off x="6400800" y="1177021"/>
            <a:ext cx="2209800" cy="1907233"/>
            <a:chOff x="5867400" y="3561253"/>
            <a:chExt cx="1524000" cy="1384722"/>
          </a:xfrm>
        </p:grpSpPr>
        <p:sp>
          <p:nvSpPr>
            <p:cNvPr id="48" name="Wave 47"/>
            <p:cNvSpPr/>
            <p:nvPr/>
          </p:nvSpPr>
          <p:spPr>
            <a:xfrm rot="5400000">
              <a:off x="5937039" y="3491614"/>
              <a:ext cx="1384722" cy="1524000"/>
            </a:xfrm>
            <a:prstGeom prst="wave">
              <a:avLst/>
            </a:prstGeom>
            <a:solidFill>
              <a:schemeClr val="tx1">
                <a:lumMod val="65000"/>
                <a:lumOff val="3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p:cNvSpPr txBox="1"/>
            <p:nvPr/>
          </p:nvSpPr>
          <p:spPr>
            <a:xfrm>
              <a:off x="6019801" y="3596293"/>
              <a:ext cx="1309252" cy="1161977"/>
            </a:xfrm>
            <a:prstGeom prst="rect">
              <a:avLst/>
            </a:prstGeom>
            <a:noFill/>
          </p:spPr>
          <p:txBody>
            <a:bodyPr wrap="square" rtlCol="0">
              <a:spAutoFit/>
            </a:bodyPr>
            <a:lstStyle/>
            <a:p>
              <a:pPr algn="ctr" defTabSz="957263">
                <a:spcBef>
                  <a:spcPct val="20000"/>
                </a:spcBef>
                <a:defRPr/>
              </a:pPr>
              <a:r>
                <a:rPr lang="en-US" altLang="ja-JP" dirty="0" smtClean="0">
                  <a:solidFill>
                    <a:schemeClr val="bg1"/>
                  </a:solidFill>
                  <a:latin typeface="Arial" charset="0"/>
                  <a:ea typeface="ＭＳ Ｐゴシック" pitchFamily="50" charset="-128"/>
                </a:rPr>
                <a:t>Mismanagement</a:t>
              </a:r>
            </a:p>
            <a:p>
              <a:pPr algn="ctr" defTabSz="957263">
                <a:spcBef>
                  <a:spcPct val="20000"/>
                </a:spcBef>
                <a:defRPr/>
              </a:pPr>
              <a:r>
                <a:rPr lang="en-US" altLang="ja-JP" dirty="0" smtClean="0">
                  <a:solidFill>
                    <a:schemeClr val="bg1"/>
                  </a:solidFill>
                  <a:latin typeface="Arial" charset="0"/>
                  <a:ea typeface="ＭＳ Ｐゴシック" pitchFamily="50" charset="-128"/>
                </a:rPr>
                <a:t> </a:t>
              </a:r>
              <a:r>
                <a:rPr lang="en-US" altLang="ja-JP" dirty="0">
                  <a:solidFill>
                    <a:schemeClr val="bg1"/>
                  </a:solidFill>
                  <a:latin typeface="Arial" charset="0"/>
                  <a:ea typeface="ＭＳ Ｐゴシック" pitchFamily="50" charset="-128"/>
                </a:rPr>
                <a:t>of IT </a:t>
              </a:r>
              <a:r>
                <a:rPr lang="en-US" altLang="ja-JP" dirty="0" smtClean="0">
                  <a:solidFill>
                    <a:schemeClr val="bg1"/>
                  </a:solidFill>
                  <a:latin typeface="Arial" charset="0"/>
                  <a:ea typeface="ＭＳ Ｐゴシック" pitchFamily="50" charset="-128"/>
                </a:rPr>
                <a:t>assets,</a:t>
              </a:r>
            </a:p>
            <a:p>
              <a:pPr algn="ctr" defTabSz="957263">
                <a:spcBef>
                  <a:spcPct val="20000"/>
                </a:spcBef>
                <a:defRPr/>
              </a:pPr>
              <a:r>
                <a:rPr lang="en-US" altLang="ja-JP" dirty="0" smtClean="0">
                  <a:solidFill>
                    <a:schemeClr val="bg1"/>
                  </a:solidFill>
                  <a:latin typeface="Arial" charset="0"/>
                  <a:ea typeface="ＭＳ Ｐゴシック" pitchFamily="50" charset="-128"/>
                </a:rPr>
                <a:t>Software</a:t>
              </a:r>
            </a:p>
            <a:p>
              <a:pPr algn="ctr" defTabSz="957263">
                <a:spcBef>
                  <a:spcPct val="20000"/>
                </a:spcBef>
                <a:defRPr/>
              </a:pPr>
              <a:r>
                <a:rPr lang="en-US" altLang="ja-JP" dirty="0" smtClean="0">
                  <a:solidFill>
                    <a:schemeClr val="bg1"/>
                  </a:solidFill>
                  <a:latin typeface="Arial" charset="0"/>
                  <a:ea typeface="ＭＳ Ｐゴシック" pitchFamily="50" charset="-128"/>
                </a:rPr>
                <a:t> without</a:t>
              </a:r>
            </a:p>
            <a:p>
              <a:pPr algn="ctr" defTabSz="957263">
                <a:spcBef>
                  <a:spcPct val="20000"/>
                </a:spcBef>
                <a:defRPr/>
              </a:pPr>
              <a:r>
                <a:rPr lang="en-US" altLang="ja-JP" dirty="0" smtClean="0">
                  <a:solidFill>
                    <a:schemeClr val="bg1"/>
                  </a:solidFill>
                  <a:latin typeface="Arial" charset="0"/>
                  <a:ea typeface="ＭＳ Ｐゴシック" pitchFamily="50" charset="-128"/>
                </a:rPr>
                <a:t>Source </a:t>
              </a:r>
            </a:p>
            <a:p>
              <a:pPr algn="ctr" defTabSz="957263">
                <a:spcBef>
                  <a:spcPct val="20000"/>
                </a:spcBef>
                <a:defRPr/>
              </a:pPr>
              <a:r>
                <a:rPr lang="en-US" altLang="ja-JP" dirty="0" smtClean="0">
                  <a:solidFill>
                    <a:schemeClr val="bg1"/>
                  </a:solidFill>
                  <a:latin typeface="Arial" charset="0"/>
                  <a:ea typeface="ＭＳ Ｐゴシック" pitchFamily="50" charset="-128"/>
                </a:rPr>
                <a:t>code</a:t>
              </a:r>
              <a:r>
                <a:rPr lang="en-US" altLang="ja-JP" dirty="0">
                  <a:solidFill>
                    <a:schemeClr val="bg1"/>
                  </a:solidFill>
                  <a:latin typeface="Arial" charset="0"/>
                  <a:ea typeface="ＭＳ Ｐゴシック" pitchFamily="50" charset="-128"/>
                </a:rPr>
                <a:t>.</a:t>
              </a:r>
            </a:p>
          </p:txBody>
        </p:sp>
      </p:grpSp>
      <p:grpSp>
        <p:nvGrpSpPr>
          <p:cNvPr id="4" name="Group 3"/>
          <p:cNvGrpSpPr/>
          <p:nvPr/>
        </p:nvGrpSpPr>
        <p:grpSpPr>
          <a:xfrm>
            <a:off x="1600200" y="2871953"/>
            <a:ext cx="2793367" cy="1777777"/>
            <a:chOff x="609600" y="3028190"/>
            <a:chExt cx="2053478" cy="1314450"/>
          </a:xfrm>
        </p:grpSpPr>
        <p:sp>
          <p:nvSpPr>
            <p:cNvPr id="60" name="Wave 59"/>
            <p:cNvSpPr/>
            <p:nvPr/>
          </p:nvSpPr>
          <p:spPr>
            <a:xfrm rot="5400000">
              <a:off x="714375" y="2923415"/>
              <a:ext cx="1314450" cy="1524000"/>
            </a:xfrm>
            <a:prstGeom prst="wave">
              <a:avLst/>
            </a:prstGeom>
            <a:solidFill>
              <a:schemeClr val="tx1"/>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p:cNvSpPr txBox="1"/>
            <p:nvPr/>
          </p:nvSpPr>
          <p:spPr>
            <a:xfrm>
              <a:off x="951279" y="3037294"/>
              <a:ext cx="1711799" cy="1058170"/>
            </a:xfrm>
            <a:prstGeom prst="rect">
              <a:avLst/>
            </a:prstGeom>
            <a:noFill/>
          </p:spPr>
          <p:txBody>
            <a:bodyPr wrap="square" rtlCol="0">
              <a:spAutoFit/>
            </a:bodyPr>
            <a:lstStyle/>
            <a:p>
              <a:pPr defTabSz="957263">
                <a:spcBef>
                  <a:spcPct val="20000"/>
                </a:spcBef>
                <a:defRPr/>
              </a:pPr>
              <a:r>
                <a:rPr lang="en-US" altLang="ja-JP" sz="1500" dirty="0" smtClean="0">
                  <a:solidFill>
                    <a:schemeClr val="bg1"/>
                  </a:solidFill>
                  <a:latin typeface="Arial" charset="0"/>
                  <a:ea typeface="ＭＳ Ｐゴシック" pitchFamily="50" charset="-128"/>
                </a:rPr>
                <a:t>Duplication of </a:t>
              </a:r>
            </a:p>
            <a:p>
              <a:pPr defTabSz="957263">
                <a:spcBef>
                  <a:spcPct val="20000"/>
                </a:spcBef>
                <a:defRPr/>
              </a:pPr>
              <a:r>
                <a:rPr lang="en-US" altLang="ja-JP" sz="1500" dirty="0" smtClean="0">
                  <a:solidFill>
                    <a:schemeClr val="bg1"/>
                  </a:solidFill>
                  <a:latin typeface="Arial" charset="0"/>
                  <a:ea typeface="ＭＳ Ｐゴシック" pitchFamily="50" charset="-128"/>
                </a:rPr>
                <a:t>Systems for</a:t>
              </a:r>
            </a:p>
            <a:p>
              <a:pPr defTabSz="957263">
                <a:spcBef>
                  <a:spcPct val="20000"/>
                </a:spcBef>
                <a:defRPr/>
              </a:pPr>
              <a:r>
                <a:rPr lang="en-US" altLang="ja-JP" sz="1500" dirty="0">
                  <a:solidFill>
                    <a:schemeClr val="bg1"/>
                  </a:solidFill>
                  <a:latin typeface="Arial" charset="0"/>
                  <a:ea typeface="ＭＳ Ｐゴシック" pitchFamily="50" charset="-128"/>
                </a:rPr>
                <a:t>s</a:t>
              </a:r>
              <a:r>
                <a:rPr lang="en-US" altLang="ja-JP" sz="1500" dirty="0" smtClean="0">
                  <a:solidFill>
                    <a:schemeClr val="bg1"/>
                  </a:solidFill>
                  <a:latin typeface="Arial" charset="0"/>
                  <a:ea typeface="ＭＳ Ｐゴシック" pitchFamily="50" charset="-128"/>
                </a:rPr>
                <a:t>ame purpose </a:t>
              </a:r>
            </a:p>
            <a:p>
              <a:pPr defTabSz="957263">
                <a:spcBef>
                  <a:spcPct val="20000"/>
                </a:spcBef>
                <a:defRPr/>
              </a:pPr>
              <a:r>
                <a:rPr lang="en-US" altLang="ja-JP" sz="1500" dirty="0" smtClean="0">
                  <a:solidFill>
                    <a:schemeClr val="bg1"/>
                  </a:solidFill>
                  <a:latin typeface="Arial" charset="0"/>
                  <a:ea typeface="ＭＳ Ｐゴシック" pitchFamily="50" charset="-128"/>
                </a:rPr>
                <a:t>And same </a:t>
              </a:r>
            </a:p>
            <a:p>
              <a:pPr defTabSz="957263">
                <a:spcBef>
                  <a:spcPct val="20000"/>
                </a:spcBef>
                <a:defRPr/>
              </a:pPr>
              <a:r>
                <a:rPr lang="en-US" altLang="ja-JP" sz="1500" dirty="0" smtClean="0">
                  <a:solidFill>
                    <a:schemeClr val="bg1"/>
                  </a:solidFill>
                  <a:latin typeface="Arial" charset="0"/>
                  <a:ea typeface="ＭＳ Ｐゴシック" pitchFamily="50" charset="-128"/>
                </a:rPr>
                <a:t>role.</a:t>
              </a:r>
            </a:p>
          </p:txBody>
        </p:sp>
      </p:grpSp>
      <p:sp>
        <p:nvSpPr>
          <p:cNvPr id="62" name="Slide Number Placeholder 2"/>
          <p:cNvSpPr>
            <a:spLocks noGrp="1"/>
          </p:cNvSpPr>
          <p:nvPr>
            <p:ph type="sldNum" idx="12"/>
          </p:nvPr>
        </p:nvSpPr>
        <p:spPr>
          <a:xfrm>
            <a:off x="-228600" y="19050"/>
            <a:ext cx="594900" cy="731700"/>
          </a:xfrm>
        </p:spPr>
        <p:txBody>
          <a:bodyPr/>
          <a:lstStyle/>
          <a:p>
            <a:pPr marL="0" lvl="0" indent="0" algn="r">
              <a:spcBef>
                <a:spcPts val="0"/>
              </a:spcBef>
              <a:spcAft>
                <a:spcPts val="0"/>
              </a:spcAft>
              <a:buNone/>
            </a:pPr>
            <a:r>
              <a:rPr lang="en" dirty="0" smtClean="0"/>
              <a:t>6</a:t>
            </a:r>
            <a:endParaRPr lang="en" dirty="0"/>
          </a:p>
        </p:txBody>
      </p:sp>
    </p:spTree>
    <p:extLst>
      <p:ext uri="{BB962C8B-B14F-4D97-AF65-F5344CB8AC3E}">
        <p14:creationId xmlns:p14="http://schemas.microsoft.com/office/powerpoint/2010/main" val="41643351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388" name="AutoShape 49"/>
          <p:cNvCxnSpPr>
            <a:cxnSpLocks noChangeShapeType="1"/>
          </p:cNvCxnSpPr>
          <p:nvPr/>
        </p:nvCxnSpPr>
        <p:spPr bwMode="auto">
          <a:xfrm>
            <a:off x="7758113" y="438150"/>
            <a:ext cx="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7" name="Rectangle 369"/>
          <p:cNvSpPr>
            <a:spLocks noChangeArrowheads="1"/>
          </p:cNvSpPr>
          <p:nvPr/>
        </p:nvSpPr>
        <p:spPr bwMode="auto">
          <a:xfrm>
            <a:off x="1009650" y="1143000"/>
            <a:ext cx="7110413" cy="3730229"/>
          </a:xfrm>
          <a:prstGeom prst="rect">
            <a:avLst/>
          </a:prstGeom>
          <a:noFill/>
          <a:ln w="28575">
            <a:noFill/>
            <a:miter lim="800000"/>
            <a:headEnd/>
            <a:tailEnd/>
          </a:ln>
        </p:spPr>
        <p:txBody>
          <a:bodyPr lIns="71837" tIns="35918" rIns="71837" bIns="35918"/>
          <a:lstStyle/>
          <a:p>
            <a:pPr defTabSz="717947">
              <a:defRPr/>
            </a:pPr>
            <a:endParaRPr lang="en-US" altLang="ja-JP" sz="1350" dirty="0">
              <a:latin typeface="+mn-lt"/>
              <a:ea typeface="ＭＳ Ｐゴシック" pitchFamily="50" charset="-128"/>
            </a:endParaRPr>
          </a:p>
        </p:txBody>
      </p:sp>
      <p:sp>
        <p:nvSpPr>
          <p:cNvPr id="16390" name="CaixaDeTexto 13"/>
          <p:cNvSpPr txBox="1">
            <a:spLocks noChangeArrowheads="1"/>
          </p:cNvSpPr>
          <p:nvPr/>
        </p:nvSpPr>
        <p:spPr bwMode="auto">
          <a:xfrm>
            <a:off x="5430442" y="1583531"/>
            <a:ext cx="92630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pt-PT" altLang="pt-PT" sz="900" dirty="0"/>
              <a:t>Conversation</a:t>
            </a:r>
          </a:p>
        </p:txBody>
      </p:sp>
      <p:grpSp>
        <p:nvGrpSpPr>
          <p:cNvPr id="51" name="Grupo 50"/>
          <p:cNvGrpSpPr/>
          <p:nvPr/>
        </p:nvGrpSpPr>
        <p:grpSpPr>
          <a:xfrm>
            <a:off x="1125584" y="1134483"/>
            <a:ext cx="1674185" cy="357038"/>
            <a:chOff x="75306" y="1717748"/>
            <a:chExt cx="2592511" cy="1037004"/>
          </a:xfrm>
          <a:solidFill>
            <a:schemeClr val="accent2"/>
          </a:solidFill>
          <a:scene3d>
            <a:camera prst="orthographicFront">
              <a:rot lat="0" lon="0" rev="0"/>
            </a:camera>
            <a:lightRig rig="soft" dir="t">
              <a:rot lat="0" lon="0" rev="0"/>
            </a:lightRig>
          </a:scene3d>
        </p:grpSpPr>
        <p:sp>
          <p:nvSpPr>
            <p:cNvPr id="52" name="Divisa 51"/>
            <p:cNvSpPr/>
            <p:nvPr/>
          </p:nvSpPr>
          <p:spPr>
            <a:xfrm>
              <a:off x="75306" y="1717748"/>
              <a:ext cx="2592511" cy="1037004"/>
            </a:xfrm>
            <a:prstGeom prst="chevron">
              <a:avLst/>
            </a:prstGeom>
            <a:solidFill>
              <a:srgbClr val="FF6600"/>
            </a:solidFill>
            <a:ln>
              <a:noFill/>
            </a:ln>
            <a:effectLst>
              <a:outerShdw blurRad="107950" dist="12700" dir="5400000" algn="ctr">
                <a:srgbClr val="000000"/>
              </a:outerShdw>
            </a:effectLst>
            <a:sp3d contourW="44450" prstMaterial="matte">
              <a:bevelT w="63500" h="63500" prst="artDeco"/>
              <a:contourClr>
                <a:srgbClr val="FFFFFF"/>
              </a:contourClr>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53" name="Divisa 4"/>
            <p:cNvSpPr/>
            <p:nvPr/>
          </p:nvSpPr>
          <p:spPr>
            <a:xfrm>
              <a:off x="334557" y="1722143"/>
              <a:ext cx="2074009" cy="856965"/>
            </a:xfrm>
            <a:prstGeom prst="rect">
              <a:avLst/>
            </a:prstGeom>
            <a:solidFill>
              <a:srgbClr val="FF6600"/>
            </a:solidFill>
            <a:ln>
              <a:solidFill>
                <a:srgbClr val="FF6600"/>
              </a:solidFill>
            </a:ln>
            <a:effectLst>
              <a:outerShdw blurRad="107950" dist="12700" dir="5400000" algn="ctr">
                <a:srgbClr val="000000"/>
              </a:outerShdw>
            </a:effectLst>
            <a:sp3d contourW="44450" prstMaterial="matte">
              <a:bevelT w="63500" h="63500" prst="artDeco"/>
              <a:contourClr>
                <a:srgbClr val="FFFFFF"/>
              </a:contourClr>
            </a:sp3d>
          </p:spPr>
          <p:style>
            <a:lnRef idx="0">
              <a:scrgbClr r="0" g="0" b="0"/>
            </a:lnRef>
            <a:fillRef idx="0">
              <a:scrgbClr r="0" g="0" b="0"/>
            </a:fillRef>
            <a:effectRef idx="0">
              <a:scrgbClr r="0" g="0" b="0"/>
            </a:effectRef>
            <a:fontRef idx="minor">
              <a:schemeClr val="lt1"/>
            </a:fontRef>
          </p:style>
          <p:txBody>
            <a:bodyPr lIns="81011" tIns="27004" rIns="27004" bIns="27004" spcCol="1270" anchor="ctr"/>
            <a:lstStyle/>
            <a:p>
              <a:pPr>
                <a:defRPr/>
              </a:pPr>
              <a:r>
                <a:rPr lang="en-GB" sz="900" b="1" dirty="0">
                  <a:solidFill>
                    <a:schemeClr val="tx1"/>
                  </a:solidFill>
                </a:rPr>
                <a:t>(1)</a:t>
              </a:r>
              <a:r>
                <a:rPr lang="en-US" sz="900" b="1" dirty="0">
                  <a:solidFill>
                    <a:schemeClr val="tx1"/>
                  </a:solidFill>
                </a:rPr>
                <a:t>Guidance / Request</a:t>
              </a:r>
              <a:endParaRPr lang="pt-PT" sz="900" b="1" dirty="0">
                <a:solidFill>
                  <a:schemeClr val="tx1"/>
                </a:solidFill>
              </a:endParaRPr>
            </a:p>
          </p:txBody>
        </p:sp>
      </p:grpSp>
      <p:grpSp>
        <p:nvGrpSpPr>
          <p:cNvPr id="57" name="Grupo 56"/>
          <p:cNvGrpSpPr/>
          <p:nvPr/>
        </p:nvGrpSpPr>
        <p:grpSpPr>
          <a:xfrm>
            <a:off x="5180737" y="1134002"/>
            <a:ext cx="1756965" cy="357038"/>
            <a:chOff x="4453" y="1653195"/>
            <a:chExt cx="2592511" cy="1037003"/>
          </a:xfrm>
          <a:solidFill>
            <a:schemeClr val="accent2"/>
          </a:solidFill>
          <a:scene3d>
            <a:camera prst="orthographicFront">
              <a:rot lat="0" lon="0" rev="0"/>
            </a:camera>
            <a:lightRig rig="soft" dir="t">
              <a:rot lat="0" lon="0" rev="0"/>
            </a:lightRig>
          </a:scene3d>
        </p:grpSpPr>
        <p:sp>
          <p:nvSpPr>
            <p:cNvPr id="58" name="Divisa 57"/>
            <p:cNvSpPr/>
            <p:nvPr/>
          </p:nvSpPr>
          <p:spPr>
            <a:xfrm>
              <a:off x="4453" y="1653195"/>
              <a:ext cx="2592511" cy="1037003"/>
            </a:xfrm>
            <a:prstGeom prst="chevron">
              <a:avLst/>
            </a:prstGeom>
            <a:solidFill>
              <a:srgbClr val="FF6600"/>
            </a:solidFill>
            <a:ln>
              <a:solidFill>
                <a:srgbClr val="FF6600"/>
              </a:solidFill>
            </a:ln>
            <a:effectLst>
              <a:outerShdw blurRad="107950" dist="12700" dir="5400000" algn="ctr">
                <a:srgbClr val="000000"/>
              </a:outerShdw>
            </a:effectLst>
            <a:sp3d contourW="44450" prstMaterial="matte">
              <a:bevelT w="63500" h="63500" prst="artDeco"/>
              <a:contourClr>
                <a:srgbClr val="FFFFFF"/>
              </a:contourClr>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59" name="Divisa 4"/>
            <p:cNvSpPr/>
            <p:nvPr/>
          </p:nvSpPr>
          <p:spPr>
            <a:xfrm>
              <a:off x="299623" y="1722142"/>
              <a:ext cx="2030629" cy="856965"/>
            </a:xfrm>
            <a:prstGeom prst="rect">
              <a:avLst/>
            </a:prstGeom>
            <a:solidFill>
              <a:srgbClr val="FF6600"/>
            </a:solidFill>
            <a:ln>
              <a:solidFill>
                <a:srgbClr val="0070C0"/>
              </a:solidFill>
            </a:ln>
            <a:effectLst>
              <a:outerShdw blurRad="107950" dist="12700" dir="5400000" algn="ctr">
                <a:srgbClr val="000000"/>
              </a:outerShdw>
            </a:effectLst>
            <a:sp3d contourW="44450" prstMaterial="matte">
              <a:bevelT w="63500" h="63500" prst="artDeco"/>
              <a:contourClr>
                <a:srgbClr val="FFFFFF"/>
              </a:contourClr>
            </a:sp3d>
          </p:spPr>
          <p:style>
            <a:lnRef idx="0">
              <a:scrgbClr r="0" g="0" b="0"/>
            </a:lnRef>
            <a:fillRef idx="0">
              <a:scrgbClr r="0" g="0" b="0"/>
            </a:fillRef>
            <a:effectRef idx="0">
              <a:scrgbClr r="0" g="0" b="0"/>
            </a:effectRef>
            <a:fontRef idx="minor">
              <a:schemeClr val="lt1"/>
            </a:fontRef>
          </p:style>
          <p:txBody>
            <a:bodyPr lIns="81011" tIns="27004" rIns="27004" bIns="27004" spcCol="1270" anchor="ctr"/>
            <a:lstStyle/>
            <a:p>
              <a:pPr>
                <a:defRPr/>
              </a:pPr>
              <a:r>
                <a:rPr lang="en-US" sz="900" b="1" dirty="0">
                  <a:solidFill>
                    <a:schemeClr val="tx1"/>
                  </a:solidFill>
                </a:rPr>
                <a:t>(3)Solution search</a:t>
              </a:r>
              <a:endParaRPr lang="pt-PT" sz="900" b="1" dirty="0">
                <a:solidFill>
                  <a:schemeClr val="tx1"/>
                </a:solidFill>
              </a:endParaRPr>
            </a:p>
          </p:txBody>
        </p:sp>
      </p:grpSp>
      <p:grpSp>
        <p:nvGrpSpPr>
          <p:cNvPr id="60" name="Grupo 59"/>
          <p:cNvGrpSpPr/>
          <p:nvPr/>
        </p:nvGrpSpPr>
        <p:grpSpPr>
          <a:xfrm>
            <a:off x="3150071" y="1121445"/>
            <a:ext cx="1756965" cy="357038"/>
            <a:chOff x="57158" y="1653195"/>
            <a:chExt cx="2592511" cy="1037003"/>
          </a:xfrm>
          <a:solidFill>
            <a:schemeClr val="accent2"/>
          </a:solidFill>
          <a:scene3d>
            <a:camera prst="orthographicFront">
              <a:rot lat="0" lon="0" rev="0"/>
            </a:camera>
            <a:lightRig rig="soft" dir="t">
              <a:rot lat="0" lon="0" rev="0"/>
            </a:lightRig>
          </a:scene3d>
        </p:grpSpPr>
        <p:sp>
          <p:nvSpPr>
            <p:cNvPr id="61" name="Divisa 60"/>
            <p:cNvSpPr/>
            <p:nvPr/>
          </p:nvSpPr>
          <p:spPr>
            <a:xfrm>
              <a:off x="57158" y="1653195"/>
              <a:ext cx="2592511" cy="1037003"/>
            </a:xfrm>
            <a:prstGeom prst="chevron">
              <a:avLst/>
            </a:prstGeom>
            <a:solidFill>
              <a:srgbClr val="FF6600"/>
            </a:solidFill>
            <a:ln>
              <a:solidFill>
                <a:srgbClr val="FF6600"/>
              </a:solidFill>
            </a:ln>
            <a:effectLst>
              <a:outerShdw blurRad="107950" dist="12700" dir="5400000" algn="ctr">
                <a:srgbClr val="000000"/>
              </a:outerShdw>
            </a:effectLst>
            <a:sp3d contourW="44450" prstMaterial="matte">
              <a:bevelT w="63500" h="63500" prst="artDeco"/>
              <a:contourClr>
                <a:srgbClr val="FFFFFF"/>
              </a:contourClr>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62" name="Divisa 4"/>
            <p:cNvSpPr/>
            <p:nvPr/>
          </p:nvSpPr>
          <p:spPr>
            <a:xfrm>
              <a:off x="391978" y="1719332"/>
              <a:ext cx="2030629" cy="856965"/>
            </a:xfrm>
            <a:prstGeom prst="rect">
              <a:avLst/>
            </a:prstGeom>
            <a:solidFill>
              <a:srgbClr val="FF6600"/>
            </a:solidFill>
            <a:ln>
              <a:solidFill>
                <a:srgbClr val="00B050"/>
              </a:solidFill>
            </a:ln>
            <a:effectLst>
              <a:outerShdw blurRad="107950" dist="12700" dir="5400000" algn="ctr">
                <a:srgbClr val="000000"/>
              </a:outerShdw>
            </a:effectLst>
            <a:sp3d contourW="44450" prstMaterial="matte">
              <a:bevelT w="63500" h="63500" prst="artDeco"/>
              <a:contourClr>
                <a:srgbClr val="FFFFFF"/>
              </a:contourClr>
            </a:sp3d>
          </p:spPr>
          <p:style>
            <a:lnRef idx="0">
              <a:scrgbClr r="0" g="0" b="0"/>
            </a:lnRef>
            <a:fillRef idx="0">
              <a:scrgbClr r="0" g="0" b="0"/>
            </a:fillRef>
            <a:effectRef idx="0">
              <a:scrgbClr r="0" g="0" b="0"/>
            </a:effectRef>
            <a:fontRef idx="minor">
              <a:schemeClr val="lt1"/>
            </a:fontRef>
          </p:style>
          <p:txBody>
            <a:bodyPr lIns="81011" tIns="27004" rIns="27004" bIns="27004" spcCol="1270" anchor="ctr"/>
            <a:lstStyle/>
            <a:p>
              <a:pPr>
                <a:defRPr/>
              </a:pPr>
              <a:r>
                <a:rPr lang="en-US" sz="900" b="1" dirty="0">
                  <a:solidFill>
                    <a:schemeClr val="tx1"/>
                  </a:solidFill>
                </a:rPr>
                <a:t>(2)Doubt difficulty for execution</a:t>
              </a:r>
              <a:endParaRPr lang="pt-PT" sz="900" b="1" dirty="0">
                <a:solidFill>
                  <a:schemeClr val="tx1"/>
                </a:solidFill>
              </a:endParaRPr>
            </a:p>
          </p:txBody>
        </p:sp>
      </p:grpSp>
      <p:pic>
        <p:nvPicPr>
          <p:cNvPr id="16394" name="Picture 35" descr="C:\Users\MPLS\Desktop\Estrategia_Japão\Ation_Plan\Hajir_Image\1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3031" y="2171700"/>
            <a:ext cx="1485900" cy="1122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5" name="Picture 7" descr="C:\Users\MPLS\Desktop\Estrategia_Japão\Ation_Plan\Hajir_Image\1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2106" y="3269457"/>
            <a:ext cx="1534716" cy="1150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6" name="Picture 8" descr="C:\Users\MPLS\Desktop\Estrategia_Japão\Ation_Plan\Hajir_Image\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34953" y="3094435"/>
            <a:ext cx="1060847" cy="1127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7" name="Picture 10" descr="C:\Users\MPLS\Desktop\Estrategia_Japão\Ation_Plan\Hajir_Image\16.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03107" y="1868091"/>
            <a:ext cx="1040606"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8" name="Picture 11" descr="C:\Users\MPLS\Desktop\Estrategia_Japão\Ation_Plan\Hajir_Image\6.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79319" y="2699148"/>
            <a:ext cx="671513" cy="640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9" name="Picture 12" descr="C:\Users\MPLS\Desktop\Estrategia_Japão\Ation_Plan\Hajir_Image\15.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18597" y="3374232"/>
            <a:ext cx="1185863" cy="1116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00" name="Picture 34" descr="C:\Users\MPLS\Desktop\Estrategia_Japão\Ation_Plan\Hajir_Image\7.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18597" y="4250532"/>
            <a:ext cx="481013"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401" name="Straight Connector 3"/>
          <p:cNvCxnSpPr>
            <a:cxnSpLocks noChangeShapeType="1"/>
          </p:cNvCxnSpPr>
          <p:nvPr/>
        </p:nvCxnSpPr>
        <p:spPr bwMode="auto">
          <a:xfrm>
            <a:off x="3236119" y="1718073"/>
            <a:ext cx="0" cy="327779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6402" name="Straight Connector 5"/>
          <p:cNvCxnSpPr>
            <a:cxnSpLocks noChangeShapeType="1"/>
          </p:cNvCxnSpPr>
          <p:nvPr/>
        </p:nvCxnSpPr>
        <p:spPr bwMode="auto">
          <a:xfrm>
            <a:off x="5374481" y="1774032"/>
            <a:ext cx="5954" cy="3240881"/>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6403" name="TextBox 7"/>
          <p:cNvSpPr txBox="1">
            <a:spLocks noChangeArrowheads="1"/>
          </p:cNvSpPr>
          <p:nvPr/>
        </p:nvSpPr>
        <p:spPr bwMode="auto">
          <a:xfrm>
            <a:off x="2730145" y="1848535"/>
            <a:ext cx="42981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1500" b="1" dirty="0"/>
              <a:t>(1)</a:t>
            </a:r>
          </a:p>
        </p:txBody>
      </p:sp>
      <p:sp>
        <p:nvSpPr>
          <p:cNvPr id="16404" name="TextBox 8"/>
          <p:cNvSpPr txBox="1">
            <a:spLocks noChangeArrowheads="1"/>
          </p:cNvSpPr>
          <p:nvPr/>
        </p:nvSpPr>
        <p:spPr bwMode="auto">
          <a:xfrm>
            <a:off x="4526757" y="1841049"/>
            <a:ext cx="50125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1500" b="1" dirty="0"/>
              <a:t>(2)</a:t>
            </a:r>
          </a:p>
        </p:txBody>
      </p:sp>
      <p:sp>
        <p:nvSpPr>
          <p:cNvPr id="16405" name="TextBox 9"/>
          <p:cNvSpPr txBox="1">
            <a:spLocks noChangeArrowheads="1"/>
          </p:cNvSpPr>
          <p:nvPr/>
        </p:nvSpPr>
        <p:spPr bwMode="auto">
          <a:xfrm>
            <a:off x="5528072" y="1800225"/>
            <a:ext cx="490538"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1500" b="1" dirty="0"/>
              <a:t>(3)</a:t>
            </a:r>
          </a:p>
        </p:txBody>
      </p:sp>
      <p:sp>
        <p:nvSpPr>
          <p:cNvPr id="16406" name="TextBox 32"/>
          <p:cNvSpPr txBox="1">
            <a:spLocks noChangeArrowheads="1"/>
          </p:cNvSpPr>
          <p:nvPr/>
        </p:nvSpPr>
        <p:spPr bwMode="auto">
          <a:xfrm>
            <a:off x="1013222" y="4020741"/>
            <a:ext cx="766763"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Manager</a:t>
            </a:r>
          </a:p>
        </p:txBody>
      </p:sp>
      <p:sp>
        <p:nvSpPr>
          <p:cNvPr id="16407" name="TextBox 33"/>
          <p:cNvSpPr txBox="1">
            <a:spLocks noChangeArrowheads="1"/>
          </p:cNvSpPr>
          <p:nvPr/>
        </p:nvSpPr>
        <p:spPr bwMode="auto">
          <a:xfrm>
            <a:off x="2140744" y="4486275"/>
            <a:ext cx="831056"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Employees</a:t>
            </a:r>
          </a:p>
        </p:txBody>
      </p:sp>
      <p:sp>
        <p:nvSpPr>
          <p:cNvPr id="16408" name="TextBox 34"/>
          <p:cNvSpPr txBox="1">
            <a:spLocks noChangeArrowheads="1"/>
          </p:cNvSpPr>
          <p:nvPr/>
        </p:nvSpPr>
        <p:spPr bwMode="auto">
          <a:xfrm>
            <a:off x="826294" y="2994422"/>
            <a:ext cx="945356"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Employees</a:t>
            </a:r>
          </a:p>
        </p:txBody>
      </p:sp>
      <p:sp>
        <p:nvSpPr>
          <p:cNvPr id="16409" name="TextBox 35"/>
          <p:cNvSpPr txBox="1">
            <a:spLocks noChangeArrowheads="1"/>
          </p:cNvSpPr>
          <p:nvPr/>
        </p:nvSpPr>
        <p:spPr bwMode="auto">
          <a:xfrm>
            <a:off x="3588544" y="4479131"/>
            <a:ext cx="831056"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Employee</a:t>
            </a:r>
          </a:p>
        </p:txBody>
      </p:sp>
      <p:sp>
        <p:nvSpPr>
          <p:cNvPr id="16410" name="TextBox 34"/>
          <p:cNvSpPr txBox="1">
            <a:spLocks noChangeArrowheads="1"/>
          </p:cNvSpPr>
          <p:nvPr/>
        </p:nvSpPr>
        <p:spPr bwMode="auto">
          <a:xfrm>
            <a:off x="2087167" y="1912144"/>
            <a:ext cx="945356"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Manager</a:t>
            </a:r>
          </a:p>
        </p:txBody>
      </p:sp>
      <p:sp>
        <p:nvSpPr>
          <p:cNvPr id="16411" name="Oval Callout 3"/>
          <p:cNvSpPr>
            <a:spLocks noChangeArrowheads="1"/>
          </p:cNvSpPr>
          <p:nvPr/>
        </p:nvSpPr>
        <p:spPr bwMode="auto">
          <a:xfrm>
            <a:off x="6682979" y="3138488"/>
            <a:ext cx="1469231" cy="531019"/>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sp>
        <p:nvSpPr>
          <p:cNvPr id="16412" name="TextBox 4"/>
          <p:cNvSpPr txBox="1">
            <a:spLocks noChangeArrowheads="1"/>
          </p:cNvSpPr>
          <p:nvPr/>
        </p:nvSpPr>
        <p:spPr bwMode="auto">
          <a:xfrm>
            <a:off x="6981315" y="3182096"/>
            <a:ext cx="1229915"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dirty="0"/>
              <a:t>How did you create the report last year</a:t>
            </a:r>
          </a:p>
        </p:txBody>
      </p:sp>
      <p:sp>
        <p:nvSpPr>
          <p:cNvPr id="16413" name="Rectangle 5"/>
          <p:cNvSpPr>
            <a:spLocks noChangeArrowheads="1"/>
          </p:cNvSpPr>
          <p:nvPr/>
        </p:nvSpPr>
        <p:spPr bwMode="auto">
          <a:xfrm>
            <a:off x="5394723" y="3482578"/>
            <a:ext cx="627095"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pt-PT" altLang="pt-PT" sz="975"/>
              <a:t>Meeting</a:t>
            </a:r>
            <a:endParaRPr lang="en-US" altLang="en-US" sz="975"/>
          </a:p>
        </p:txBody>
      </p:sp>
      <p:sp>
        <p:nvSpPr>
          <p:cNvPr id="16414" name="CaixaDeTexto 14"/>
          <p:cNvSpPr txBox="1">
            <a:spLocks noChangeArrowheads="1"/>
          </p:cNvSpPr>
          <p:nvPr/>
        </p:nvSpPr>
        <p:spPr bwMode="auto">
          <a:xfrm>
            <a:off x="5346591" y="2726531"/>
            <a:ext cx="63510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pt-PT" altLang="pt-PT" sz="900" dirty="0" smtClean="0"/>
              <a:t>Search</a:t>
            </a:r>
            <a:endParaRPr lang="pt-PT" altLang="pt-PT" sz="900" dirty="0"/>
          </a:p>
        </p:txBody>
      </p:sp>
      <p:sp>
        <p:nvSpPr>
          <p:cNvPr id="16415" name="Oval Callout 7"/>
          <p:cNvSpPr>
            <a:spLocks noChangeArrowheads="1"/>
          </p:cNvSpPr>
          <p:nvPr/>
        </p:nvSpPr>
        <p:spPr bwMode="auto">
          <a:xfrm>
            <a:off x="3303985" y="2047875"/>
            <a:ext cx="1268015" cy="606029"/>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sp>
        <p:nvSpPr>
          <p:cNvPr id="16416" name="TextBox 8"/>
          <p:cNvSpPr txBox="1">
            <a:spLocks noChangeArrowheads="1"/>
          </p:cNvSpPr>
          <p:nvPr/>
        </p:nvSpPr>
        <p:spPr bwMode="auto">
          <a:xfrm>
            <a:off x="3488532" y="2107407"/>
            <a:ext cx="1021556"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Where can I find document format ?</a:t>
            </a:r>
          </a:p>
        </p:txBody>
      </p:sp>
      <p:sp>
        <p:nvSpPr>
          <p:cNvPr id="16417" name="Oval Callout 44"/>
          <p:cNvSpPr>
            <a:spLocks noChangeArrowheads="1"/>
          </p:cNvSpPr>
          <p:nvPr/>
        </p:nvSpPr>
        <p:spPr bwMode="auto">
          <a:xfrm>
            <a:off x="4029075" y="2678906"/>
            <a:ext cx="1268016" cy="606029"/>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sp>
        <p:nvSpPr>
          <p:cNvPr id="16418" name="TextBox 45"/>
          <p:cNvSpPr txBox="1">
            <a:spLocks noChangeArrowheads="1"/>
          </p:cNvSpPr>
          <p:nvPr/>
        </p:nvSpPr>
        <p:spPr bwMode="auto">
          <a:xfrm>
            <a:off x="4106467" y="2769394"/>
            <a:ext cx="1077515"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dirty="0"/>
              <a:t>What procedure should I follow?</a:t>
            </a:r>
          </a:p>
        </p:txBody>
      </p:sp>
      <p:sp>
        <p:nvSpPr>
          <p:cNvPr id="16419" name="Oval Callout 46"/>
          <p:cNvSpPr>
            <a:spLocks noChangeArrowheads="1"/>
          </p:cNvSpPr>
          <p:nvPr/>
        </p:nvSpPr>
        <p:spPr bwMode="auto">
          <a:xfrm>
            <a:off x="6548438" y="2449116"/>
            <a:ext cx="1469231" cy="531019"/>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sp>
        <p:nvSpPr>
          <p:cNvPr id="16420" name="TextBox 47"/>
          <p:cNvSpPr txBox="1">
            <a:spLocks noChangeArrowheads="1"/>
          </p:cNvSpPr>
          <p:nvPr/>
        </p:nvSpPr>
        <p:spPr bwMode="auto">
          <a:xfrm>
            <a:off x="6813441" y="2478160"/>
            <a:ext cx="1050469"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dirty="0"/>
              <a:t>Ok I need to search the format of RFP</a:t>
            </a:r>
          </a:p>
        </p:txBody>
      </p:sp>
      <p:grpSp>
        <p:nvGrpSpPr>
          <p:cNvPr id="6" name="Group 5"/>
          <p:cNvGrpSpPr/>
          <p:nvPr/>
        </p:nvGrpSpPr>
        <p:grpSpPr>
          <a:xfrm>
            <a:off x="6680259" y="1476972"/>
            <a:ext cx="1469231" cy="732234"/>
            <a:chOff x="6462713" y="1465660"/>
            <a:chExt cx="1469231" cy="732234"/>
          </a:xfrm>
        </p:grpSpPr>
        <p:sp>
          <p:nvSpPr>
            <p:cNvPr id="16421" name="TextBox 48"/>
            <p:cNvSpPr txBox="1">
              <a:spLocks noChangeArrowheads="1"/>
            </p:cNvSpPr>
            <p:nvPr/>
          </p:nvSpPr>
          <p:spPr bwMode="auto">
            <a:xfrm>
              <a:off x="6644879" y="1525191"/>
              <a:ext cx="1189434"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dirty="0"/>
                <a:t>Do you know the procedure of procure SW ?</a:t>
              </a:r>
            </a:p>
          </p:txBody>
        </p:sp>
        <p:sp>
          <p:nvSpPr>
            <p:cNvPr id="16422" name="Oval Callout 49"/>
            <p:cNvSpPr>
              <a:spLocks noChangeArrowheads="1"/>
            </p:cNvSpPr>
            <p:nvPr/>
          </p:nvSpPr>
          <p:spPr bwMode="auto">
            <a:xfrm>
              <a:off x="6462713" y="1465660"/>
              <a:ext cx="1469231" cy="732234"/>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grpSp>
      <p:sp>
        <p:nvSpPr>
          <p:cNvPr id="16423" name="Oval Callout 53"/>
          <p:cNvSpPr>
            <a:spLocks noChangeArrowheads="1"/>
          </p:cNvSpPr>
          <p:nvPr/>
        </p:nvSpPr>
        <p:spPr bwMode="auto">
          <a:xfrm>
            <a:off x="829865" y="1637110"/>
            <a:ext cx="1269207" cy="592931"/>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sp>
        <p:nvSpPr>
          <p:cNvPr id="16424" name="TextBox 54"/>
          <p:cNvSpPr txBox="1">
            <a:spLocks noChangeArrowheads="1"/>
          </p:cNvSpPr>
          <p:nvPr/>
        </p:nvSpPr>
        <p:spPr bwMode="auto">
          <a:xfrm>
            <a:off x="1040607" y="1684735"/>
            <a:ext cx="1022747"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Please create an annual report?</a:t>
            </a:r>
          </a:p>
        </p:txBody>
      </p:sp>
      <p:sp>
        <p:nvSpPr>
          <p:cNvPr id="16425" name="Oval Callout 55"/>
          <p:cNvSpPr>
            <a:spLocks noChangeArrowheads="1"/>
          </p:cNvSpPr>
          <p:nvPr/>
        </p:nvSpPr>
        <p:spPr bwMode="auto">
          <a:xfrm>
            <a:off x="6634161" y="4156472"/>
            <a:ext cx="1469231" cy="659606"/>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sp>
        <p:nvSpPr>
          <p:cNvPr id="16426" name="TextBox 62"/>
          <p:cNvSpPr txBox="1">
            <a:spLocks noChangeArrowheads="1"/>
          </p:cNvSpPr>
          <p:nvPr/>
        </p:nvSpPr>
        <p:spPr bwMode="auto">
          <a:xfrm>
            <a:off x="6673371" y="4226814"/>
            <a:ext cx="1229916"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dirty="0"/>
              <a:t>Umm.. I want to ask some point to my boss</a:t>
            </a:r>
          </a:p>
        </p:txBody>
      </p:sp>
      <p:sp>
        <p:nvSpPr>
          <p:cNvPr id="16427" name="Rectangle 63"/>
          <p:cNvSpPr>
            <a:spLocks noChangeArrowheads="1"/>
          </p:cNvSpPr>
          <p:nvPr/>
        </p:nvSpPr>
        <p:spPr bwMode="auto">
          <a:xfrm>
            <a:off x="5457825" y="4370785"/>
            <a:ext cx="523875"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pt-PT" altLang="pt-PT" sz="975"/>
              <a:t>Boss busy</a:t>
            </a:r>
            <a:endParaRPr lang="en-US" altLang="en-US" sz="975"/>
          </a:p>
        </p:txBody>
      </p:sp>
      <p:sp>
        <p:nvSpPr>
          <p:cNvPr id="5" name="Title 4"/>
          <p:cNvSpPr>
            <a:spLocks noGrp="1"/>
          </p:cNvSpPr>
          <p:nvPr>
            <p:ph type="title"/>
          </p:nvPr>
        </p:nvSpPr>
        <p:spPr>
          <a:xfrm>
            <a:off x="1117251" y="337500"/>
            <a:ext cx="6848325" cy="610513"/>
          </a:xfrm>
        </p:spPr>
        <p:txBody>
          <a:bodyPr/>
          <a:lstStyle/>
          <a:p>
            <a:pPr algn="ctr"/>
            <a:r>
              <a:rPr lang="en-US" altLang="ja-JP" b="1" dirty="0" smtClean="0">
                <a:solidFill>
                  <a:schemeClr val="bg1"/>
                </a:solidFill>
              </a:rPr>
              <a:t/>
            </a:r>
            <a:br>
              <a:rPr lang="en-US" altLang="ja-JP" b="1" dirty="0" smtClean="0">
                <a:solidFill>
                  <a:schemeClr val="bg1"/>
                </a:solidFill>
              </a:rPr>
            </a:br>
            <a:r>
              <a:rPr lang="en-US" altLang="ja-JP" b="1" dirty="0">
                <a:solidFill>
                  <a:schemeClr val="bg1"/>
                </a:solidFill>
              </a:rPr>
              <a:t>problems </a:t>
            </a:r>
            <a:r>
              <a:rPr lang="en-US" altLang="ja-JP" b="1" dirty="0" smtClean="0">
                <a:solidFill>
                  <a:schemeClr val="bg1"/>
                </a:solidFill>
              </a:rPr>
              <a:t>(2/2)</a:t>
            </a:r>
            <a:br>
              <a:rPr lang="en-US" altLang="ja-JP" b="1" dirty="0" smtClean="0">
                <a:solidFill>
                  <a:schemeClr val="bg1"/>
                </a:solidFill>
              </a:rPr>
            </a:br>
            <a:r>
              <a:rPr lang="en-US" altLang="ja-JP" b="1" dirty="0" smtClean="0">
                <a:solidFill>
                  <a:schemeClr val="bg1"/>
                </a:solidFill>
              </a:rPr>
              <a:t>Current </a:t>
            </a:r>
            <a:r>
              <a:rPr lang="en-US" altLang="ja-JP" b="1" dirty="0">
                <a:solidFill>
                  <a:schemeClr val="bg1"/>
                </a:solidFill>
              </a:rPr>
              <a:t>business &amp; system </a:t>
            </a:r>
            <a:r>
              <a:rPr lang="en-US" altLang="ja-JP" b="1" dirty="0" smtClean="0">
                <a:solidFill>
                  <a:schemeClr val="bg1"/>
                </a:solidFill>
              </a:rPr>
              <a:t>image</a:t>
            </a:r>
            <a:r>
              <a:rPr lang="en-US" altLang="ja-JP" b="1" dirty="0">
                <a:solidFill>
                  <a:schemeClr val="bg1"/>
                </a:solidFill>
              </a:rPr>
              <a:t/>
            </a:r>
            <a:br>
              <a:rPr lang="en-US" altLang="ja-JP" b="1" dirty="0">
                <a:solidFill>
                  <a:schemeClr val="bg1"/>
                </a:solidFill>
              </a:rPr>
            </a:br>
            <a:endParaRPr lang="en-US" dirty="0">
              <a:solidFill>
                <a:schemeClr val="bg1"/>
              </a:solidFill>
            </a:endParaRPr>
          </a:p>
        </p:txBody>
      </p:sp>
      <p:sp>
        <p:nvSpPr>
          <p:cNvPr id="4" name="Slide Number Placeholder 3"/>
          <p:cNvSpPr>
            <a:spLocks noGrp="1"/>
          </p:cNvSpPr>
          <p:nvPr>
            <p:ph type="sldNum" idx="12"/>
          </p:nvPr>
        </p:nvSpPr>
        <p:spPr/>
        <p:txBody>
          <a:bodyPr/>
          <a:lstStyle/>
          <a:p>
            <a:pPr marL="0" lvl="0" indent="0">
              <a:spcBef>
                <a:spcPts val="0"/>
              </a:spcBef>
              <a:spcAft>
                <a:spcPts val="0"/>
              </a:spcAft>
              <a:buNone/>
            </a:pPr>
            <a:fld id="{00000000-1234-1234-1234-123412341234}" type="slidenum">
              <a:rPr lang="en" smtClean="0"/>
              <a:t>7</a:t>
            </a:fld>
            <a:endParaRPr lang="en"/>
          </a:p>
        </p:txBody>
      </p:sp>
    </p:spTree>
    <p:extLst>
      <p:ext uri="{BB962C8B-B14F-4D97-AF65-F5344CB8AC3E}">
        <p14:creationId xmlns:p14="http://schemas.microsoft.com/office/powerpoint/2010/main" val="2928126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396"/>
                                        </p:tgtEl>
                                        <p:attrNameLst>
                                          <p:attrName>style.visibility</p:attrName>
                                        </p:attrNameLst>
                                      </p:cBhvr>
                                      <p:to>
                                        <p:strVal val="visible"/>
                                      </p:to>
                                    </p:set>
                                    <p:animEffect transition="in" filter="fade">
                                      <p:cBhvr>
                                        <p:cTn id="7" dur="1000"/>
                                        <p:tgtEl>
                                          <p:spTgt spid="16396"/>
                                        </p:tgtEl>
                                      </p:cBhvr>
                                    </p:animEffect>
                                    <p:anim calcmode="lin" valueType="num">
                                      <p:cBhvr>
                                        <p:cTn id="8" dur="1000" fill="hold"/>
                                        <p:tgtEl>
                                          <p:spTgt spid="16396"/>
                                        </p:tgtEl>
                                        <p:attrNameLst>
                                          <p:attrName>ppt_x</p:attrName>
                                        </p:attrNameLst>
                                      </p:cBhvr>
                                      <p:tavLst>
                                        <p:tav tm="0">
                                          <p:val>
                                            <p:strVal val="#ppt_x"/>
                                          </p:val>
                                        </p:tav>
                                        <p:tav tm="100000">
                                          <p:val>
                                            <p:strVal val="#ppt_x"/>
                                          </p:val>
                                        </p:tav>
                                      </p:tavLst>
                                    </p:anim>
                                    <p:anim calcmode="lin" valueType="num">
                                      <p:cBhvr>
                                        <p:cTn id="9" dur="1000" fill="hold"/>
                                        <p:tgtEl>
                                          <p:spTgt spid="1639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6" presetClass="entr" presetSubtype="16" fill="hold" grpId="0" nodeType="clickEffect">
                                  <p:stCondLst>
                                    <p:cond delay="0"/>
                                  </p:stCondLst>
                                  <p:childTnLst>
                                    <p:set>
                                      <p:cBhvr>
                                        <p:cTn id="13" dur="1" fill="hold">
                                          <p:stCondLst>
                                            <p:cond delay="0"/>
                                          </p:stCondLst>
                                        </p:cTn>
                                        <p:tgtEl>
                                          <p:spTgt spid="16417"/>
                                        </p:tgtEl>
                                        <p:attrNameLst>
                                          <p:attrName>style.visibility</p:attrName>
                                        </p:attrNameLst>
                                      </p:cBhvr>
                                      <p:to>
                                        <p:strVal val="visible"/>
                                      </p:to>
                                    </p:set>
                                    <p:animEffect transition="in" filter="circle(in)">
                                      <p:cBhvr>
                                        <p:cTn id="14" dur="2000"/>
                                        <p:tgtEl>
                                          <p:spTgt spid="16417"/>
                                        </p:tgtEl>
                                      </p:cBhvr>
                                    </p:animEffect>
                                  </p:childTnLst>
                                </p:cTn>
                              </p:par>
                              <p:par>
                                <p:cTn id="15" presetID="6" presetClass="entr" presetSubtype="16" fill="hold" grpId="0" nodeType="withEffect">
                                  <p:stCondLst>
                                    <p:cond delay="0"/>
                                  </p:stCondLst>
                                  <p:childTnLst>
                                    <p:set>
                                      <p:cBhvr>
                                        <p:cTn id="16" dur="1" fill="hold">
                                          <p:stCondLst>
                                            <p:cond delay="0"/>
                                          </p:stCondLst>
                                        </p:cTn>
                                        <p:tgtEl>
                                          <p:spTgt spid="16418"/>
                                        </p:tgtEl>
                                        <p:attrNameLst>
                                          <p:attrName>style.visibility</p:attrName>
                                        </p:attrNameLst>
                                      </p:cBhvr>
                                      <p:to>
                                        <p:strVal val="visible"/>
                                      </p:to>
                                    </p:set>
                                    <p:animEffect transition="in" filter="circle(in)">
                                      <p:cBhvr>
                                        <p:cTn id="17" dur="2000"/>
                                        <p:tgtEl>
                                          <p:spTgt spid="16418"/>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16416"/>
                                        </p:tgtEl>
                                        <p:attrNameLst>
                                          <p:attrName>style.visibility</p:attrName>
                                        </p:attrNameLst>
                                      </p:cBhvr>
                                      <p:to>
                                        <p:strVal val="visible"/>
                                      </p:to>
                                    </p:set>
                                    <p:anim calcmode="lin" valueType="num">
                                      <p:cBhvr additive="base">
                                        <p:cTn id="22" dur="500" fill="hold"/>
                                        <p:tgtEl>
                                          <p:spTgt spid="16416"/>
                                        </p:tgtEl>
                                        <p:attrNameLst>
                                          <p:attrName>ppt_x</p:attrName>
                                        </p:attrNameLst>
                                      </p:cBhvr>
                                      <p:tavLst>
                                        <p:tav tm="0">
                                          <p:val>
                                            <p:strVal val="#ppt_x"/>
                                          </p:val>
                                        </p:tav>
                                        <p:tav tm="100000">
                                          <p:val>
                                            <p:strVal val="#ppt_x"/>
                                          </p:val>
                                        </p:tav>
                                      </p:tavLst>
                                    </p:anim>
                                    <p:anim calcmode="lin" valueType="num">
                                      <p:cBhvr additive="base">
                                        <p:cTn id="23" dur="500" fill="hold"/>
                                        <p:tgtEl>
                                          <p:spTgt spid="16416"/>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16415"/>
                                        </p:tgtEl>
                                        <p:attrNameLst>
                                          <p:attrName>style.visibility</p:attrName>
                                        </p:attrNameLst>
                                      </p:cBhvr>
                                      <p:to>
                                        <p:strVal val="visible"/>
                                      </p:to>
                                    </p:set>
                                    <p:anim calcmode="lin" valueType="num">
                                      <p:cBhvr additive="base">
                                        <p:cTn id="26" dur="500" fill="hold"/>
                                        <p:tgtEl>
                                          <p:spTgt spid="16415"/>
                                        </p:tgtEl>
                                        <p:attrNameLst>
                                          <p:attrName>ppt_x</p:attrName>
                                        </p:attrNameLst>
                                      </p:cBhvr>
                                      <p:tavLst>
                                        <p:tav tm="0">
                                          <p:val>
                                            <p:strVal val="#ppt_x"/>
                                          </p:val>
                                        </p:tav>
                                        <p:tav tm="100000">
                                          <p:val>
                                            <p:strVal val="#ppt_x"/>
                                          </p:val>
                                        </p:tav>
                                      </p:tavLst>
                                    </p:anim>
                                    <p:anim calcmode="lin" valueType="num">
                                      <p:cBhvr additive="base">
                                        <p:cTn id="27" dur="500" fill="hold"/>
                                        <p:tgtEl>
                                          <p:spTgt spid="16415"/>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390"/>
                                        </p:tgtEl>
                                        <p:attrNameLst>
                                          <p:attrName>style.visibility</p:attrName>
                                        </p:attrNameLst>
                                      </p:cBhvr>
                                      <p:to>
                                        <p:strVal val="visible"/>
                                      </p:to>
                                    </p:set>
                                    <p:animEffect transition="in" filter="fade">
                                      <p:cBhvr>
                                        <p:cTn id="35" dur="500"/>
                                        <p:tgtEl>
                                          <p:spTgt spid="16390"/>
                                        </p:tgtEl>
                                      </p:cBhvr>
                                    </p:animEffect>
                                  </p:childTnLst>
                                </p:cTn>
                              </p:par>
                              <p:par>
                                <p:cTn id="36" presetID="10" presetClass="entr" presetSubtype="0" fill="hold" nodeType="withEffect">
                                  <p:stCondLst>
                                    <p:cond delay="0"/>
                                  </p:stCondLst>
                                  <p:childTnLst>
                                    <p:set>
                                      <p:cBhvr>
                                        <p:cTn id="37" dur="1" fill="hold">
                                          <p:stCondLst>
                                            <p:cond delay="0"/>
                                          </p:stCondLst>
                                        </p:cTn>
                                        <p:tgtEl>
                                          <p:spTgt spid="16397"/>
                                        </p:tgtEl>
                                        <p:attrNameLst>
                                          <p:attrName>style.visibility</p:attrName>
                                        </p:attrNameLst>
                                      </p:cBhvr>
                                      <p:to>
                                        <p:strVal val="visible"/>
                                      </p:to>
                                    </p:set>
                                    <p:animEffect transition="in" filter="fade">
                                      <p:cBhvr>
                                        <p:cTn id="38" dur="500"/>
                                        <p:tgtEl>
                                          <p:spTgt spid="16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90" grpId="0"/>
      <p:bldP spid="16415" grpId="0" animBg="1"/>
      <p:bldP spid="16416" grpId="0"/>
      <p:bldP spid="16417" grpId="0" animBg="1"/>
      <p:bldP spid="164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sp>
        <p:nvSpPr>
          <p:cNvPr id="139" name="Shape 139"/>
          <p:cNvSpPr txBox="1">
            <a:spLocks noGrp="1"/>
          </p:cNvSpPr>
          <p:nvPr>
            <p:ph type="title"/>
          </p:nvPr>
        </p:nvSpPr>
        <p:spPr>
          <a:xfrm>
            <a:off x="1104900" y="276075"/>
            <a:ext cx="6724500" cy="749100"/>
          </a:xfrm>
          <a:prstGeom prst="rect">
            <a:avLst/>
          </a:prstGeom>
        </p:spPr>
        <p:txBody>
          <a:bodyPr spcFirstLastPara="1" wrap="square" lIns="91425" tIns="91425" rIns="91425" bIns="91425" anchor="ctr" anchorCtr="0">
            <a:noAutofit/>
          </a:bodyPr>
          <a:lstStyle/>
          <a:p>
            <a:pPr lvl="0" algn="ctr"/>
            <a:r>
              <a:rPr lang="en-US" b="1" dirty="0" smtClean="0">
                <a:solidFill>
                  <a:schemeClr val="bg1"/>
                </a:solidFill>
                <a:cs typeface="Arial" panose="020B0604020202020204" pitchFamily="34" charset="0"/>
              </a:rPr>
              <a:t>Solution(1/2)</a:t>
            </a:r>
            <a:endParaRPr b="1" dirty="0">
              <a:solidFill>
                <a:schemeClr val="bg1"/>
              </a:solidFill>
            </a:endParaRPr>
          </a:p>
        </p:txBody>
      </p:sp>
      <p:sp>
        <p:nvSpPr>
          <p:cNvPr id="140" name="Shape 140"/>
          <p:cNvSpPr txBox="1">
            <a:spLocks noGrp="1"/>
          </p:cNvSpPr>
          <p:nvPr>
            <p:ph type="body" idx="1"/>
          </p:nvPr>
        </p:nvSpPr>
        <p:spPr>
          <a:xfrm>
            <a:off x="1136431" y="1123950"/>
            <a:ext cx="7581900" cy="3648300"/>
          </a:xfrm>
          <a:prstGeom prst="rect">
            <a:avLst/>
          </a:prstGeom>
        </p:spPr>
        <p:txBody>
          <a:bodyPr spcFirstLastPara="1" wrap="square" lIns="91425" tIns="91425" rIns="91425" bIns="91425" anchor="t" anchorCtr="0">
            <a:noAutofit/>
          </a:bodyPr>
          <a:lstStyle/>
          <a:p>
            <a:pPr marL="0" indent="0">
              <a:buNone/>
            </a:pPr>
            <a:r>
              <a:rPr lang="en-US" altLang="ja-JP" sz="1800" b="1" dirty="0" smtClean="0">
                <a:solidFill>
                  <a:srgbClr val="FF6600"/>
                </a:solidFill>
                <a:cs typeface="Arial" panose="020B0604020202020204" pitchFamily="34" charset="0"/>
              </a:rPr>
              <a:t>Major actions:</a:t>
            </a:r>
          </a:p>
          <a:p>
            <a:pPr marL="0" indent="0">
              <a:buNone/>
            </a:pPr>
            <a:r>
              <a:rPr lang="en-US" altLang="ja-JP" sz="1800" dirty="0" smtClean="0">
                <a:solidFill>
                  <a:schemeClr val="tx1"/>
                </a:solidFill>
              </a:rPr>
              <a:t>-Develop Knowledge sharing system to National Information Center.</a:t>
            </a:r>
          </a:p>
          <a:p>
            <a:pPr marL="0" indent="0">
              <a:buNone/>
            </a:pPr>
            <a:r>
              <a:rPr lang="en-US" altLang="ja-JP" sz="1800" b="1" dirty="0" smtClean="0">
                <a:solidFill>
                  <a:srgbClr val="FF6600"/>
                </a:solidFill>
                <a:cs typeface="Arial" panose="020B0604020202020204" pitchFamily="34" charset="0"/>
              </a:rPr>
              <a:t>Scope:</a:t>
            </a:r>
          </a:p>
          <a:p>
            <a:pPr marL="0" indent="0">
              <a:buNone/>
            </a:pPr>
            <a:r>
              <a:rPr lang="en-US" altLang="ja-JP" sz="1800" dirty="0" smtClean="0">
                <a:solidFill>
                  <a:schemeClr val="tx1"/>
                </a:solidFill>
              </a:rPr>
              <a:t>- All National Information Center Departments.</a:t>
            </a:r>
            <a:endParaRPr lang="ja-JP" altLang="ja-JP" sz="1800" dirty="0" smtClean="0">
              <a:solidFill>
                <a:schemeClr val="tx1"/>
              </a:solidFill>
            </a:endParaRPr>
          </a:p>
          <a:p>
            <a:pPr marL="0" indent="0">
              <a:buNone/>
            </a:pPr>
            <a:r>
              <a:rPr lang="en-US" sz="1800" b="1" dirty="0" smtClean="0">
                <a:solidFill>
                  <a:srgbClr val="FF6600"/>
                </a:solidFill>
                <a:cs typeface="Arial" panose="020B0604020202020204" pitchFamily="34" charset="0"/>
              </a:rPr>
              <a:t>Deliverables and when:</a:t>
            </a:r>
          </a:p>
          <a:p>
            <a:pPr marL="0" indent="0">
              <a:buNone/>
            </a:pPr>
            <a:r>
              <a:rPr lang="en-US" sz="1800" dirty="0" smtClean="0"/>
              <a:t>- </a:t>
            </a:r>
            <a:r>
              <a:rPr lang="en-US" sz="1800" dirty="0" smtClean="0">
                <a:solidFill>
                  <a:schemeClr val="tx1"/>
                </a:solidFill>
              </a:rPr>
              <a:t>Action plan presentation to top management and staffs by July 2018.</a:t>
            </a:r>
          </a:p>
          <a:p>
            <a:pPr marL="0" indent="0">
              <a:buNone/>
            </a:pPr>
            <a:r>
              <a:rPr lang="en-US" sz="1800" dirty="0" smtClean="0">
                <a:solidFill>
                  <a:schemeClr val="tx1"/>
                </a:solidFill>
              </a:rPr>
              <a:t>- Complete development of the system by September 2019.</a:t>
            </a:r>
          </a:p>
          <a:p>
            <a:pPr marL="0" indent="0">
              <a:buNone/>
            </a:pPr>
            <a:r>
              <a:rPr lang="en-US" sz="1800" dirty="0" smtClean="0">
                <a:solidFill>
                  <a:schemeClr val="tx1"/>
                </a:solidFill>
              </a:rPr>
              <a:t>- Conduct Training by Oct 2019 .</a:t>
            </a:r>
          </a:p>
          <a:p>
            <a:pPr marL="0" indent="0">
              <a:buNone/>
            </a:pPr>
            <a:endParaRPr lang="en-US" sz="1300" dirty="0"/>
          </a:p>
          <a:p>
            <a:pPr marL="38100" lvl="0" indent="0" rtl="0">
              <a:spcBef>
                <a:spcPts val="600"/>
              </a:spcBef>
              <a:spcAft>
                <a:spcPts val="0"/>
              </a:spcAft>
              <a:buSzPts val="3000"/>
              <a:buNone/>
            </a:pPr>
            <a:endParaRPr sz="1300" dirty="0"/>
          </a:p>
        </p:txBody>
      </p:sp>
      <p:sp>
        <p:nvSpPr>
          <p:cNvPr id="141" name="Shape 141"/>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t>8</a:t>
            </a:fld>
            <a:endParaRPr dirty="0"/>
          </a:p>
        </p:txBody>
      </p:sp>
    </p:spTree>
    <p:extLst>
      <p:ext uri="{BB962C8B-B14F-4D97-AF65-F5344CB8AC3E}">
        <p14:creationId xmlns:p14="http://schemas.microsoft.com/office/powerpoint/2010/main" val="1784585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532" name="AutoShape 49"/>
          <p:cNvCxnSpPr>
            <a:cxnSpLocks noChangeShapeType="1"/>
          </p:cNvCxnSpPr>
          <p:nvPr/>
        </p:nvCxnSpPr>
        <p:spPr bwMode="auto">
          <a:xfrm>
            <a:off x="7758113" y="438150"/>
            <a:ext cx="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8" name="Rectangle 369"/>
          <p:cNvSpPr>
            <a:spLocks noChangeArrowheads="1"/>
          </p:cNvSpPr>
          <p:nvPr/>
        </p:nvSpPr>
        <p:spPr bwMode="auto">
          <a:xfrm>
            <a:off x="1009650" y="1135856"/>
            <a:ext cx="7277100" cy="3810000"/>
          </a:xfrm>
          <a:prstGeom prst="rect">
            <a:avLst/>
          </a:prstGeom>
          <a:noFill/>
          <a:ln w="28575">
            <a:noFill/>
            <a:miter lim="800000"/>
            <a:headEnd/>
            <a:tailEnd/>
          </a:ln>
        </p:spPr>
        <p:txBody>
          <a:bodyPr lIns="71837" tIns="35918" rIns="71837" bIns="35918"/>
          <a:lstStyle/>
          <a:p>
            <a:pPr defTabSz="717947">
              <a:defRPr/>
            </a:pPr>
            <a:endParaRPr lang="en-US" altLang="ja-JP" sz="1350" dirty="0">
              <a:latin typeface="+mn-lt"/>
              <a:ea typeface="ＭＳ Ｐゴシック" pitchFamily="50" charset="-128"/>
            </a:endParaRPr>
          </a:p>
        </p:txBody>
      </p:sp>
      <p:pic>
        <p:nvPicPr>
          <p:cNvPr id="22534" name="Picture 35" descr="C:\Users\MPLS\Desktop\Estrategia_Japão\Ation_Plan\Hajir_Image\1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7406" y="2201466"/>
            <a:ext cx="1328738" cy="100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7" descr="C:\Users\MPLS\Desktop\Estrategia_Japão\Ation_Plan\Hajir_Image\1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88331" y="3359944"/>
            <a:ext cx="1534716" cy="1150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536" name="Straight Connector 3"/>
          <p:cNvCxnSpPr>
            <a:cxnSpLocks noChangeShapeType="1"/>
          </p:cNvCxnSpPr>
          <p:nvPr/>
        </p:nvCxnSpPr>
        <p:spPr bwMode="auto">
          <a:xfrm>
            <a:off x="3792141" y="1308497"/>
            <a:ext cx="8334" cy="3637359"/>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pic>
        <p:nvPicPr>
          <p:cNvPr id="22537" name="Picture 11" descr="C:\Users\MPLS\Desktop\Estrategia_Japão\Ation_Plan\Hajir_Image\6.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42149" y="4322594"/>
            <a:ext cx="809964" cy="538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upo 56"/>
          <p:cNvGrpSpPr/>
          <p:nvPr/>
        </p:nvGrpSpPr>
        <p:grpSpPr>
          <a:xfrm>
            <a:off x="4652112" y="1275235"/>
            <a:ext cx="1756965" cy="357038"/>
            <a:chOff x="4453" y="1653195"/>
            <a:chExt cx="2592511" cy="1037003"/>
          </a:xfrm>
          <a:solidFill>
            <a:schemeClr val="accent2"/>
          </a:solidFill>
          <a:scene3d>
            <a:camera prst="orthographicFront">
              <a:rot lat="0" lon="0" rev="0"/>
            </a:camera>
            <a:lightRig rig="soft" dir="t">
              <a:rot lat="0" lon="0" rev="0"/>
            </a:lightRig>
          </a:scene3d>
        </p:grpSpPr>
        <p:sp>
          <p:nvSpPr>
            <p:cNvPr id="17" name="Divisa 57"/>
            <p:cNvSpPr/>
            <p:nvPr/>
          </p:nvSpPr>
          <p:spPr>
            <a:xfrm>
              <a:off x="4453" y="1653195"/>
              <a:ext cx="2592511" cy="1037003"/>
            </a:xfrm>
            <a:prstGeom prst="chevron">
              <a:avLst/>
            </a:prstGeom>
            <a:solidFill>
              <a:srgbClr val="FF6600"/>
            </a:solidFill>
            <a:ln>
              <a:solidFill>
                <a:srgbClr val="0070C0"/>
              </a:solidFill>
            </a:ln>
            <a:effectLst>
              <a:outerShdw blurRad="107950" dist="12700" dir="5400000" algn="ctr">
                <a:srgbClr val="000000"/>
              </a:outerShdw>
            </a:effectLst>
            <a:sp3d contourW="44450" prstMaterial="matte">
              <a:bevelT w="63500" h="63500" prst="artDeco"/>
              <a:contourClr>
                <a:srgbClr val="FFFFFF"/>
              </a:contourClr>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18" name="Divisa 4"/>
            <p:cNvSpPr/>
            <p:nvPr/>
          </p:nvSpPr>
          <p:spPr>
            <a:xfrm>
              <a:off x="426813" y="1673839"/>
              <a:ext cx="1934442" cy="871917"/>
            </a:xfrm>
            <a:prstGeom prst="rect">
              <a:avLst/>
            </a:prstGeom>
            <a:solidFill>
              <a:srgbClr val="FF6600"/>
            </a:solidFill>
            <a:ln>
              <a:solidFill>
                <a:srgbClr val="0070C0"/>
              </a:solidFill>
            </a:ln>
            <a:effectLst>
              <a:outerShdw blurRad="107950" dist="12700" dir="5400000" algn="ctr">
                <a:srgbClr val="000000"/>
              </a:outerShdw>
            </a:effectLst>
            <a:sp3d contourW="44450" prstMaterial="matte">
              <a:bevelT w="63500" h="63500" prst="artDeco"/>
              <a:contourClr>
                <a:srgbClr val="FFFFFF"/>
              </a:contourClr>
            </a:sp3d>
          </p:spPr>
          <p:style>
            <a:lnRef idx="0">
              <a:scrgbClr r="0" g="0" b="0"/>
            </a:lnRef>
            <a:fillRef idx="0">
              <a:scrgbClr r="0" g="0" b="0"/>
            </a:fillRef>
            <a:effectRef idx="0">
              <a:scrgbClr r="0" g="0" b="0"/>
            </a:effectRef>
            <a:fontRef idx="minor">
              <a:schemeClr val="lt1"/>
            </a:fontRef>
          </p:style>
          <p:txBody>
            <a:bodyPr lIns="81011" tIns="27004" rIns="27004" bIns="27004" spcCol="1270" anchor="ctr"/>
            <a:lstStyle/>
            <a:p>
              <a:pPr>
                <a:defRPr/>
              </a:pPr>
              <a:r>
                <a:rPr lang="en-US" sz="900" b="1" dirty="0">
                  <a:solidFill>
                    <a:schemeClr val="tx1"/>
                  </a:solidFill>
                </a:rPr>
                <a:t>(2) Solution Search</a:t>
              </a:r>
              <a:endParaRPr lang="pt-PT" sz="900" b="1" dirty="0">
                <a:solidFill>
                  <a:schemeClr val="tx1"/>
                </a:solidFill>
              </a:endParaRPr>
            </a:p>
          </p:txBody>
        </p:sp>
      </p:grpSp>
      <p:sp>
        <p:nvSpPr>
          <p:cNvPr id="22539" name="Rectangle 1"/>
          <p:cNvSpPr>
            <a:spLocks noChangeArrowheads="1"/>
          </p:cNvSpPr>
          <p:nvPr/>
        </p:nvSpPr>
        <p:spPr bwMode="auto">
          <a:xfrm>
            <a:off x="5172075" y="1747837"/>
            <a:ext cx="142756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pt-PT" altLang="pt-PT" sz="1050" dirty="0"/>
              <a:t>Search in knowledge sharing system</a:t>
            </a:r>
            <a:endParaRPr lang="en-US" altLang="en-US" sz="1050" dirty="0"/>
          </a:p>
        </p:txBody>
      </p:sp>
      <p:grpSp>
        <p:nvGrpSpPr>
          <p:cNvPr id="19" name="Grupo 50"/>
          <p:cNvGrpSpPr/>
          <p:nvPr/>
        </p:nvGrpSpPr>
        <p:grpSpPr>
          <a:xfrm>
            <a:off x="1596628" y="1269193"/>
            <a:ext cx="1680302" cy="389189"/>
            <a:chOff x="75306" y="1717748"/>
            <a:chExt cx="2592511" cy="1037004"/>
          </a:xfrm>
          <a:solidFill>
            <a:schemeClr val="accent2"/>
          </a:solidFill>
          <a:scene3d>
            <a:camera prst="orthographicFront">
              <a:rot lat="0" lon="0" rev="0"/>
            </a:camera>
            <a:lightRig rig="soft" dir="t">
              <a:rot lat="0" lon="0" rev="0"/>
            </a:lightRig>
          </a:scene3d>
        </p:grpSpPr>
        <p:sp>
          <p:nvSpPr>
            <p:cNvPr id="20" name="Divisa 51"/>
            <p:cNvSpPr/>
            <p:nvPr/>
          </p:nvSpPr>
          <p:spPr>
            <a:xfrm>
              <a:off x="75306" y="1717748"/>
              <a:ext cx="2592511" cy="1037004"/>
            </a:xfrm>
            <a:prstGeom prst="chevron">
              <a:avLst/>
            </a:prstGeom>
            <a:solidFill>
              <a:srgbClr val="FF6600"/>
            </a:solidFill>
            <a:ln>
              <a:noFill/>
            </a:ln>
            <a:effectLst>
              <a:outerShdw blurRad="107950" dist="12700" dir="5400000" algn="ctr">
                <a:srgbClr val="000000"/>
              </a:outerShdw>
            </a:effectLst>
            <a:sp3d contourW="44450" prstMaterial="matte">
              <a:bevelT w="63500" h="63500" prst="artDeco"/>
              <a:contourClr>
                <a:srgbClr val="FFFFFF"/>
              </a:contourClr>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21" name="Divisa 4"/>
            <p:cNvSpPr/>
            <p:nvPr/>
          </p:nvSpPr>
          <p:spPr>
            <a:xfrm>
              <a:off x="572298" y="1861904"/>
              <a:ext cx="1667657" cy="712808"/>
            </a:xfrm>
            <a:prstGeom prst="rect">
              <a:avLst/>
            </a:prstGeom>
            <a:solidFill>
              <a:srgbClr val="FF6600"/>
            </a:solidFill>
            <a:ln>
              <a:noFill/>
            </a:ln>
            <a:effectLst>
              <a:outerShdw blurRad="107950" dist="12700" dir="5400000" algn="ctr">
                <a:srgbClr val="000000"/>
              </a:outerShdw>
            </a:effectLst>
            <a:sp3d contourW="44450" prstMaterial="matte">
              <a:bevelT w="63500" h="63500" prst="artDeco"/>
              <a:contourClr>
                <a:srgbClr val="FFFFFF"/>
              </a:contourClr>
            </a:sp3d>
          </p:spPr>
          <p:style>
            <a:lnRef idx="0">
              <a:scrgbClr r="0" g="0" b="0"/>
            </a:lnRef>
            <a:fillRef idx="0">
              <a:scrgbClr r="0" g="0" b="0"/>
            </a:fillRef>
            <a:effectRef idx="0">
              <a:scrgbClr r="0" g="0" b="0"/>
            </a:effectRef>
            <a:fontRef idx="minor">
              <a:schemeClr val="lt1"/>
            </a:fontRef>
          </p:style>
          <p:txBody>
            <a:bodyPr lIns="81011" tIns="27004" rIns="27004" bIns="27004" spcCol="1270" anchor="ctr"/>
            <a:lstStyle/>
            <a:p>
              <a:pPr>
                <a:defRPr/>
              </a:pPr>
              <a:r>
                <a:rPr lang="en-GB" sz="900" b="1" dirty="0">
                  <a:solidFill>
                    <a:schemeClr val="tx1"/>
                  </a:solidFill>
                </a:rPr>
                <a:t>(1)</a:t>
              </a:r>
              <a:r>
                <a:rPr lang="en-US" sz="900" b="1" dirty="0">
                  <a:solidFill>
                    <a:schemeClr val="tx1"/>
                  </a:solidFill>
                </a:rPr>
                <a:t>Guidance / Request</a:t>
              </a:r>
              <a:endParaRPr lang="pt-PT" sz="900" b="1" dirty="0">
                <a:solidFill>
                  <a:schemeClr val="tx1"/>
                </a:solidFill>
              </a:endParaRPr>
            </a:p>
          </p:txBody>
        </p:sp>
      </p:grpSp>
      <p:sp>
        <p:nvSpPr>
          <p:cNvPr id="22541" name="Rectangle 2"/>
          <p:cNvSpPr>
            <a:spLocks noChangeArrowheads="1"/>
          </p:cNvSpPr>
          <p:nvPr/>
        </p:nvSpPr>
        <p:spPr bwMode="auto">
          <a:xfrm>
            <a:off x="2711255" y="1763272"/>
            <a:ext cx="39626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1350" b="1" dirty="0"/>
              <a:t>(1)</a:t>
            </a:r>
          </a:p>
        </p:txBody>
      </p:sp>
      <p:sp>
        <p:nvSpPr>
          <p:cNvPr id="22542" name="TextBox 8"/>
          <p:cNvSpPr txBox="1">
            <a:spLocks noChangeArrowheads="1"/>
          </p:cNvSpPr>
          <p:nvPr/>
        </p:nvSpPr>
        <p:spPr bwMode="auto">
          <a:xfrm>
            <a:off x="4382075" y="1721660"/>
            <a:ext cx="50125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1500" b="1" dirty="0"/>
              <a:t>(2)</a:t>
            </a:r>
          </a:p>
        </p:txBody>
      </p:sp>
      <p:sp>
        <p:nvSpPr>
          <p:cNvPr id="22543" name="TextBox 1"/>
          <p:cNvSpPr txBox="1">
            <a:spLocks noChangeArrowheads="1"/>
          </p:cNvSpPr>
          <p:nvPr/>
        </p:nvSpPr>
        <p:spPr bwMode="auto">
          <a:xfrm>
            <a:off x="2602706" y="4517231"/>
            <a:ext cx="95607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1050" dirty="0"/>
              <a:t>Employees</a:t>
            </a:r>
          </a:p>
        </p:txBody>
      </p:sp>
      <p:sp>
        <p:nvSpPr>
          <p:cNvPr id="22544" name="TextBox 3"/>
          <p:cNvSpPr txBox="1">
            <a:spLocks noChangeArrowheads="1"/>
          </p:cNvSpPr>
          <p:nvPr/>
        </p:nvSpPr>
        <p:spPr bwMode="auto">
          <a:xfrm>
            <a:off x="1065610" y="3980260"/>
            <a:ext cx="76676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1050"/>
              <a:t>Manager</a:t>
            </a:r>
          </a:p>
        </p:txBody>
      </p:sp>
      <p:sp>
        <p:nvSpPr>
          <p:cNvPr id="22545" name="TextBox 4"/>
          <p:cNvSpPr txBox="1">
            <a:spLocks noChangeArrowheads="1"/>
          </p:cNvSpPr>
          <p:nvPr/>
        </p:nvSpPr>
        <p:spPr bwMode="auto">
          <a:xfrm>
            <a:off x="1067992" y="2763441"/>
            <a:ext cx="94535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1050"/>
              <a:t>Manager &amp; Employees</a:t>
            </a:r>
          </a:p>
        </p:txBody>
      </p:sp>
      <p:grpSp>
        <p:nvGrpSpPr>
          <p:cNvPr id="22546" name="Group 3"/>
          <p:cNvGrpSpPr>
            <a:grpSpLocks/>
          </p:cNvGrpSpPr>
          <p:nvPr/>
        </p:nvGrpSpPr>
        <p:grpSpPr bwMode="auto">
          <a:xfrm>
            <a:off x="3873104" y="2063354"/>
            <a:ext cx="1372790" cy="608409"/>
            <a:chOff x="4048169" y="3316387"/>
            <a:chExt cx="1830387" cy="811213"/>
          </a:xfrm>
        </p:grpSpPr>
        <p:sp>
          <p:nvSpPr>
            <p:cNvPr id="22569" name="TextBox 1"/>
            <p:cNvSpPr txBox="1">
              <a:spLocks noChangeArrowheads="1"/>
            </p:cNvSpPr>
            <p:nvPr/>
          </p:nvSpPr>
          <p:spPr bwMode="auto">
            <a:xfrm>
              <a:off x="4330717" y="3499643"/>
              <a:ext cx="1460500" cy="523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dirty="0"/>
                <a:t>What procedure should I follow?</a:t>
              </a:r>
            </a:p>
          </p:txBody>
        </p:sp>
        <p:sp>
          <p:nvSpPr>
            <p:cNvPr id="22570" name="Oval Callout 24"/>
            <p:cNvSpPr>
              <a:spLocks noChangeArrowheads="1"/>
            </p:cNvSpPr>
            <p:nvPr/>
          </p:nvSpPr>
          <p:spPr bwMode="auto">
            <a:xfrm>
              <a:off x="4048169" y="3316387"/>
              <a:ext cx="1830387" cy="811213"/>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grpSp>
      <p:grpSp>
        <p:nvGrpSpPr>
          <p:cNvPr id="22547" name="Group 5"/>
          <p:cNvGrpSpPr>
            <a:grpSpLocks/>
          </p:cNvGrpSpPr>
          <p:nvPr/>
        </p:nvGrpSpPr>
        <p:grpSpPr bwMode="auto">
          <a:xfrm>
            <a:off x="3830702" y="3711861"/>
            <a:ext cx="1277540" cy="459581"/>
            <a:chOff x="6838950" y="2940050"/>
            <a:chExt cx="1703388" cy="612775"/>
          </a:xfrm>
        </p:grpSpPr>
        <p:sp>
          <p:nvSpPr>
            <p:cNvPr id="22567" name="Oval Callout 2"/>
            <p:cNvSpPr>
              <a:spLocks noChangeArrowheads="1"/>
            </p:cNvSpPr>
            <p:nvPr/>
          </p:nvSpPr>
          <p:spPr bwMode="auto">
            <a:xfrm>
              <a:off x="6838950" y="2940050"/>
              <a:ext cx="1635125" cy="612775"/>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sp>
          <p:nvSpPr>
            <p:cNvPr id="22568" name="TextBox 5"/>
            <p:cNvSpPr txBox="1">
              <a:spLocks noChangeArrowheads="1"/>
            </p:cNvSpPr>
            <p:nvPr/>
          </p:nvSpPr>
          <p:spPr bwMode="auto">
            <a:xfrm>
              <a:off x="6946899" y="3027363"/>
              <a:ext cx="159543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To whom should I contact?</a:t>
              </a:r>
            </a:p>
          </p:txBody>
        </p:sp>
      </p:grpSp>
      <p:grpSp>
        <p:nvGrpSpPr>
          <p:cNvPr id="22548" name="Group 6"/>
          <p:cNvGrpSpPr>
            <a:grpSpLocks/>
          </p:cNvGrpSpPr>
          <p:nvPr/>
        </p:nvGrpSpPr>
        <p:grpSpPr bwMode="auto">
          <a:xfrm>
            <a:off x="7343362" y="1550466"/>
            <a:ext cx="1166813" cy="638823"/>
            <a:chOff x="8176871" y="3652044"/>
            <a:chExt cx="1555750" cy="850119"/>
          </a:xfrm>
        </p:grpSpPr>
        <p:sp>
          <p:nvSpPr>
            <p:cNvPr id="22565" name="Oval Callout 3"/>
            <p:cNvSpPr>
              <a:spLocks noChangeArrowheads="1"/>
            </p:cNvSpPr>
            <p:nvPr/>
          </p:nvSpPr>
          <p:spPr bwMode="auto">
            <a:xfrm>
              <a:off x="8176871" y="3652044"/>
              <a:ext cx="1555750" cy="798426"/>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sp>
          <p:nvSpPr>
            <p:cNvPr id="22566" name="TextBox 9"/>
            <p:cNvSpPr txBox="1">
              <a:spLocks noChangeArrowheads="1"/>
            </p:cNvSpPr>
            <p:nvPr/>
          </p:nvSpPr>
          <p:spPr bwMode="auto">
            <a:xfrm>
              <a:off x="8454720" y="3780285"/>
              <a:ext cx="1222375" cy="721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I want to refer the last year report</a:t>
              </a:r>
            </a:p>
          </p:txBody>
        </p:sp>
      </p:grpSp>
      <p:sp>
        <p:nvSpPr>
          <p:cNvPr id="22549" name="Oval Callout 10"/>
          <p:cNvSpPr>
            <a:spLocks noChangeArrowheads="1"/>
          </p:cNvSpPr>
          <p:nvPr/>
        </p:nvSpPr>
        <p:spPr bwMode="auto">
          <a:xfrm>
            <a:off x="895350" y="1814512"/>
            <a:ext cx="1309688" cy="652463"/>
          </a:xfrm>
          <a:prstGeom prst="wedgeEllipseCallout">
            <a:avLst>
              <a:gd name="adj1" fmla="val -20833"/>
              <a:gd name="adj2" fmla="val 62500"/>
            </a:avLst>
          </a:prstGeom>
          <a:noFill/>
          <a:ln w="9525" algn="ctr">
            <a:solidFill>
              <a:schemeClr val="tx1"/>
            </a:solidFill>
            <a:prstDash val="dash"/>
            <a:bevel/>
            <a:headEnd/>
            <a:tailEnd/>
          </a:ln>
          <a:extLst>
            <a:ext uri="{909E8E84-426E-40DD-AFC4-6F175D3DCCD1}">
              <a14:hiddenFill xmlns:a14="http://schemas.microsoft.com/office/drawing/2010/main">
                <a:solidFill>
                  <a:srgbClr val="FFFFFF"/>
                </a:solidFill>
              </a14:hiddenFill>
            </a:ext>
          </a:extLst>
        </p:spPr>
        <p:txBody>
          <a:bodyPr/>
          <a:lstStyle>
            <a:lvl1pPr defTabSz="957263">
              <a:spcBef>
                <a:spcPct val="20000"/>
              </a:spcBef>
              <a:buChar char="•"/>
              <a:defRPr kumimoji="1" sz="3400">
                <a:solidFill>
                  <a:schemeClr val="tx1"/>
                </a:solidFill>
                <a:latin typeface="Arial" panose="020B0604020202020204" pitchFamily="34" charset="0"/>
                <a:ea typeface="ＭＳ Ｐゴシック" panose="020B0600070205080204" pitchFamily="34" charset="-128"/>
              </a:defRPr>
            </a:lvl1pPr>
            <a:lvl2pPr marL="742950" indent="-285750" defTabSz="957263">
              <a:spcBef>
                <a:spcPct val="20000"/>
              </a:spcBef>
              <a:buChar char="–"/>
              <a:defRPr kumimoji="1" sz="2900">
                <a:solidFill>
                  <a:schemeClr val="tx1"/>
                </a:solidFill>
                <a:latin typeface="Arial" panose="020B0604020202020204" pitchFamily="34" charset="0"/>
                <a:ea typeface="ＭＳ Ｐゴシック" panose="020B0600070205080204" pitchFamily="34" charset="-128"/>
              </a:defRPr>
            </a:lvl2pPr>
            <a:lvl3pPr marL="1143000" indent="-228600" defTabSz="957263">
              <a:spcBef>
                <a:spcPct val="20000"/>
              </a:spcBef>
              <a:buChar char="•"/>
              <a:defRPr kumimoji="1" sz="2500">
                <a:solidFill>
                  <a:schemeClr val="tx1"/>
                </a:solidFill>
                <a:latin typeface="Arial" panose="020B0604020202020204" pitchFamily="34" charset="0"/>
                <a:ea typeface="ＭＳ Ｐゴシック" panose="020B0600070205080204" pitchFamily="34" charset="-128"/>
              </a:defRPr>
            </a:lvl3pPr>
            <a:lvl4pPr marL="16002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4pPr>
            <a:lvl5pPr marL="2057400" indent="-228600" defTabSz="957263">
              <a:spcBef>
                <a:spcPct val="20000"/>
              </a:spcBef>
              <a:buChar char="»"/>
              <a:defRPr kumimoji="1" sz="21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20000"/>
              </a:spcBef>
              <a:spcAft>
                <a:spcPct val="0"/>
              </a:spcAft>
              <a:buChar char="»"/>
              <a:defRPr kumimoji="1" sz="21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FontTx/>
              <a:buNone/>
            </a:pPr>
            <a:endParaRPr lang="en-US" altLang="en-US" sz="1425"/>
          </a:p>
        </p:txBody>
      </p:sp>
      <p:sp>
        <p:nvSpPr>
          <p:cNvPr id="22550" name="TextBox 34"/>
          <p:cNvSpPr txBox="1">
            <a:spLocks noChangeArrowheads="1"/>
          </p:cNvSpPr>
          <p:nvPr/>
        </p:nvSpPr>
        <p:spPr bwMode="auto">
          <a:xfrm>
            <a:off x="1090613" y="1907382"/>
            <a:ext cx="1022747" cy="54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Please create an annual report?</a:t>
            </a:r>
          </a:p>
        </p:txBody>
      </p:sp>
      <p:pic>
        <p:nvPicPr>
          <p:cNvPr id="22553" name="Picture 3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986699" y="1789636"/>
            <a:ext cx="992981" cy="13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4" name="TextBox 31"/>
          <p:cNvSpPr txBox="1">
            <a:spLocks noChangeArrowheads="1"/>
          </p:cNvSpPr>
          <p:nvPr/>
        </p:nvSpPr>
        <p:spPr bwMode="auto">
          <a:xfrm>
            <a:off x="6940154" y="2958704"/>
            <a:ext cx="189309" cy="311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endParaRPr lang="en-US" altLang="en-US" sz="1425"/>
          </a:p>
        </p:txBody>
      </p:sp>
      <p:sp>
        <p:nvSpPr>
          <p:cNvPr id="22555" name="TextBox 36"/>
          <p:cNvSpPr txBox="1">
            <a:spLocks noChangeArrowheads="1"/>
          </p:cNvSpPr>
          <p:nvPr/>
        </p:nvSpPr>
        <p:spPr bwMode="auto">
          <a:xfrm>
            <a:off x="6956823" y="3155156"/>
            <a:ext cx="421481"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refer</a:t>
            </a:r>
          </a:p>
        </p:txBody>
      </p:sp>
      <p:sp>
        <p:nvSpPr>
          <p:cNvPr id="22557" name="TextBox 62"/>
          <p:cNvSpPr txBox="1">
            <a:spLocks noChangeArrowheads="1"/>
          </p:cNvSpPr>
          <p:nvPr/>
        </p:nvSpPr>
        <p:spPr bwMode="auto">
          <a:xfrm>
            <a:off x="4693788" y="4337447"/>
            <a:ext cx="491386"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a:t>refer</a:t>
            </a:r>
          </a:p>
        </p:txBody>
      </p:sp>
      <p:pic>
        <p:nvPicPr>
          <p:cNvPr id="22558" name="Picture 41"/>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796904" y="2676525"/>
            <a:ext cx="1221581" cy="81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60" name="TextBox 70"/>
          <p:cNvSpPr txBox="1">
            <a:spLocks noChangeArrowheads="1"/>
          </p:cNvSpPr>
          <p:nvPr/>
        </p:nvSpPr>
        <p:spPr bwMode="auto">
          <a:xfrm>
            <a:off x="5076143" y="2941980"/>
            <a:ext cx="486862"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dirty="0"/>
              <a:t>refer</a:t>
            </a:r>
          </a:p>
        </p:txBody>
      </p:sp>
      <p:sp>
        <p:nvSpPr>
          <p:cNvPr id="22561" name="Rectangle 1"/>
          <p:cNvSpPr>
            <a:spLocks noChangeArrowheads="1"/>
          </p:cNvSpPr>
          <p:nvPr/>
        </p:nvSpPr>
        <p:spPr bwMode="auto">
          <a:xfrm>
            <a:off x="5375673" y="2257425"/>
            <a:ext cx="1616869"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125" dirty="0"/>
              <a:t>Knowledge sharing system</a:t>
            </a:r>
          </a:p>
        </p:txBody>
      </p:sp>
      <p:grpSp>
        <p:nvGrpSpPr>
          <p:cNvPr id="4" name="Group 3"/>
          <p:cNvGrpSpPr/>
          <p:nvPr/>
        </p:nvGrpSpPr>
        <p:grpSpPr>
          <a:xfrm>
            <a:off x="5633935" y="2753842"/>
            <a:ext cx="1609725" cy="2043113"/>
            <a:chOff x="5379244" y="2746772"/>
            <a:chExt cx="1609725" cy="2043113"/>
          </a:xfrm>
        </p:grpSpPr>
        <p:sp>
          <p:nvSpPr>
            <p:cNvPr id="22564" name="Rectangle 8"/>
            <p:cNvSpPr>
              <a:spLocks noChangeArrowheads="1"/>
            </p:cNvSpPr>
            <p:nvPr/>
          </p:nvSpPr>
          <p:spPr bwMode="auto">
            <a:xfrm>
              <a:off x="5379244" y="2746772"/>
              <a:ext cx="1609725" cy="2043113"/>
            </a:xfrm>
            <a:prstGeom prst="rect">
              <a:avLst/>
            </a:prstGeom>
            <a:ln>
              <a:headEnd/>
              <a:tailEnd/>
            </a:ln>
          </p:spPr>
          <p:style>
            <a:lnRef idx="2">
              <a:schemeClr val="dk1"/>
            </a:lnRef>
            <a:fillRef idx="1">
              <a:schemeClr val="lt1"/>
            </a:fillRef>
            <a:effectRef idx="0">
              <a:schemeClr val="dk1"/>
            </a:effectRef>
            <a:fontRef idx="minor">
              <a:schemeClr val="dk1"/>
            </a:fontRef>
          </p:style>
          <p:txBody>
            <a:bodyPr/>
            <a:lstStyle>
              <a:lvl1pPr defTabSz="957263">
                <a:defRPr kumimoji="1" sz="1900">
                  <a:solidFill>
                    <a:schemeClr val="tx1"/>
                  </a:solidFill>
                  <a:latin typeface="Arial" panose="020B0604020202020204" pitchFamily="34" charset="0"/>
                  <a:ea typeface="ＭＳ Ｐゴシック" panose="020B0600070205080204" pitchFamily="34" charset="-128"/>
                </a:defRPr>
              </a:lvl1pPr>
              <a:lvl2pPr marL="742950" indent="-285750" defTabSz="957263">
                <a:defRPr kumimoji="1" sz="1900">
                  <a:solidFill>
                    <a:schemeClr val="tx1"/>
                  </a:solidFill>
                  <a:latin typeface="Arial" panose="020B0604020202020204" pitchFamily="34" charset="0"/>
                  <a:ea typeface="ＭＳ Ｐゴシック" panose="020B0600070205080204" pitchFamily="34" charset="-128"/>
                </a:defRPr>
              </a:lvl2pPr>
              <a:lvl3pPr marL="1143000" indent="-228600" defTabSz="957263">
                <a:defRPr kumimoji="1" sz="1900">
                  <a:solidFill>
                    <a:schemeClr val="tx1"/>
                  </a:solidFill>
                  <a:latin typeface="Arial" panose="020B0604020202020204" pitchFamily="34" charset="0"/>
                  <a:ea typeface="ＭＳ Ｐゴシック" panose="020B0600070205080204" pitchFamily="34" charset="-128"/>
                </a:defRPr>
              </a:lvl3pPr>
              <a:lvl4pPr marL="1600200" indent="-228600" defTabSz="957263">
                <a:defRPr kumimoji="1" sz="1900">
                  <a:solidFill>
                    <a:schemeClr val="tx1"/>
                  </a:solidFill>
                  <a:latin typeface="Arial" panose="020B0604020202020204" pitchFamily="34" charset="0"/>
                  <a:ea typeface="ＭＳ Ｐゴシック" panose="020B0600070205080204" pitchFamily="34" charset="-128"/>
                </a:defRPr>
              </a:lvl4pPr>
              <a:lvl5pPr marL="2057400" indent="-228600" defTabSz="957263">
                <a:defRPr kumimoji="1" sz="1900">
                  <a:solidFill>
                    <a:schemeClr val="tx1"/>
                  </a:solidFill>
                  <a:latin typeface="Arial" panose="020B0604020202020204" pitchFamily="34" charset="0"/>
                  <a:ea typeface="ＭＳ Ｐゴシック" panose="020B0600070205080204" pitchFamily="34" charset="-128"/>
                </a:defRPr>
              </a:lvl5pPr>
              <a:lvl6pPr marL="2514600" indent="-228600" defTabSz="957263"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defTabSz="957263"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defTabSz="957263"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defTabSz="957263"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125" dirty="0"/>
            </a:p>
          </p:txBody>
        </p:sp>
        <p:sp>
          <p:nvSpPr>
            <p:cNvPr id="3" name="Rectangle 2"/>
            <p:cNvSpPr/>
            <p:nvPr/>
          </p:nvSpPr>
          <p:spPr bwMode="auto">
            <a:xfrm>
              <a:off x="5516166" y="2849166"/>
              <a:ext cx="1252538" cy="502444"/>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lgn="ctr" defTabSz="717947">
                <a:defRPr/>
              </a:pPr>
              <a:r>
                <a:rPr lang="en-US" sz="975" dirty="0">
                  <a:solidFill>
                    <a:schemeClr val="tx1"/>
                  </a:solidFill>
                </a:rPr>
                <a:t>Business process procedure document</a:t>
              </a:r>
            </a:p>
          </p:txBody>
        </p:sp>
        <p:sp>
          <p:nvSpPr>
            <p:cNvPr id="49" name="Rectangle 48"/>
            <p:cNvSpPr/>
            <p:nvPr/>
          </p:nvSpPr>
          <p:spPr bwMode="auto">
            <a:xfrm>
              <a:off x="5516166" y="3507582"/>
              <a:ext cx="1275159" cy="464344"/>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lgn="ctr" defTabSz="717947">
                <a:defRPr/>
              </a:pPr>
              <a:r>
                <a:rPr lang="en-US" sz="975" dirty="0">
                  <a:solidFill>
                    <a:schemeClr val="tx1"/>
                  </a:solidFill>
                </a:rPr>
                <a:t>Report History</a:t>
              </a:r>
            </a:p>
          </p:txBody>
        </p:sp>
        <p:sp>
          <p:nvSpPr>
            <p:cNvPr id="50" name="Rectangle 49"/>
            <p:cNvSpPr/>
            <p:nvPr/>
          </p:nvSpPr>
          <p:spPr bwMode="auto">
            <a:xfrm>
              <a:off x="5516166" y="4056460"/>
              <a:ext cx="1275159" cy="464344"/>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lgn="ctr" defTabSz="717947">
                <a:defRPr/>
              </a:pPr>
              <a:r>
                <a:rPr lang="en-US" sz="975" dirty="0">
                  <a:solidFill>
                    <a:schemeClr val="tx1"/>
                  </a:solidFill>
                </a:rPr>
                <a:t>Contacts Lists</a:t>
              </a:r>
            </a:p>
          </p:txBody>
        </p:sp>
      </p:grpSp>
      <p:sp>
        <p:nvSpPr>
          <p:cNvPr id="2" name="Title 1"/>
          <p:cNvSpPr>
            <a:spLocks noGrp="1"/>
          </p:cNvSpPr>
          <p:nvPr>
            <p:ph type="title"/>
          </p:nvPr>
        </p:nvSpPr>
        <p:spPr>
          <a:xfrm>
            <a:off x="1150473" y="380605"/>
            <a:ext cx="6724500" cy="548158"/>
          </a:xfrm>
        </p:spPr>
        <p:txBody>
          <a:bodyPr/>
          <a:lstStyle/>
          <a:p>
            <a:pPr algn="ctr"/>
            <a:r>
              <a:rPr lang="en-US" b="1" dirty="0" smtClean="0">
                <a:solidFill>
                  <a:schemeClr val="bg1"/>
                </a:solidFill>
                <a:cs typeface="Arial" panose="020B0604020202020204" pitchFamily="34" charset="0"/>
              </a:rPr>
              <a:t>Solution </a:t>
            </a:r>
            <a:r>
              <a:rPr lang="en-US" altLang="ja-JP" b="1" dirty="0" smtClean="0">
                <a:solidFill>
                  <a:schemeClr val="bg1"/>
                </a:solidFill>
              </a:rPr>
              <a:t>(2/2</a:t>
            </a:r>
            <a:r>
              <a:rPr lang="en-US" altLang="ja-JP" b="1" dirty="0">
                <a:solidFill>
                  <a:schemeClr val="bg1"/>
                </a:solidFill>
              </a:rPr>
              <a:t>)</a:t>
            </a:r>
            <a:r>
              <a:rPr lang="en-US" b="1" dirty="0" smtClean="0">
                <a:solidFill>
                  <a:schemeClr val="bg1"/>
                </a:solidFill>
                <a:cs typeface="Arial" panose="020B0604020202020204" pitchFamily="34" charset="0"/>
              </a:rPr>
              <a:t/>
            </a:r>
            <a:br>
              <a:rPr lang="en-US" b="1" dirty="0" smtClean="0">
                <a:solidFill>
                  <a:schemeClr val="bg1"/>
                </a:solidFill>
                <a:cs typeface="Arial" panose="020B0604020202020204" pitchFamily="34" charset="0"/>
              </a:rPr>
            </a:br>
            <a:r>
              <a:rPr lang="en-US" altLang="ja-JP" b="1" dirty="0" smtClean="0">
                <a:solidFill>
                  <a:schemeClr val="bg1"/>
                </a:solidFill>
              </a:rPr>
              <a:t>Future </a:t>
            </a:r>
            <a:r>
              <a:rPr lang="en-US" altLang="ja-JP" b="1" dirty="0">
                <a:solidFill>
                  <a:schemeClr val="bg1"/>
                </a:solidFill>
              </a:rPr>
              <a:t>Business &amp; System </a:t>
            </a:r>
            <a:r>
              <a:rPr lang="en-US" altLang="ja-JP" b="1" dirty="0" smtClean="0">
                <a:solidFill>
                  <a:schemeClr val="bg1"/>
                </a:solidFill>
              </a:rPr>
              <a:t>Image</a:t>
            </a:r>
            <a:endParaRPr lang="en-US" dirty="0"/>
          </a:p>
        </p:txBody>
      </p:sp>
      <p:cxnSp>
        <p:nvCxnSpPr>
          <p:cNvPr id="22552" name="Straight Arrow Connector 25"/>
          <p:cNvCxnSpPr>
            <a:cxnSpLocks noChangeShapeType="1"/>
            <a:endCxn id="49" idx="3"/>
          </p:cNvCxnSpPr>
          <p:nvPr/>
        </p:nvCxnSpPr>
        <p:spPr bwMode="auto">
          <a:xfrm flipH="1">
            <a:off x="7046016" y="2797499"/>
            <a:ext cx="1163340" cy="949325"/>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54" name="TextBox 70"/>
          <p:cNvSpPr txBox="1">
            <a:spLocks noChangeArrowheads="1"/>
          </p:cNvSpPr>
          <p:nvPr/>
        </p:nvSpPr>
        <p:spPr bwMode="auto">
          <a:xfrm>
            <a:off x="7358878" y="2963722"/>
            <a:ext cx="486862" cy="24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1900">
                <a:solidFill>
                  <a:schemeClr val="tx1"/>
                </a:solidFill>
                <a:latin typeface="Arial" panose="020B0604020202020204" pitchFamily="34" charset="0"/>
                <a:ea typeface="ＭＳ Ｐゴシック" panose="020B0600070205080204" pitchFamily="34" charset="-128"/>
              </a:defRPr>
            </a:lvl1pPr>
            <a:lvl2pPr marL="742950" indent="-285750">
              <a:defRPr kumimoji="1" sz="1900">
                <a:solidFill>
                  <a:schemeClr val="tx1"/>
                </a:solidFill>
                <a:latin typeface="Arial" panose="020B0604020202020204" pitchFamily="34" charset="0"/>
                <a:ea typeface="ＭＳ Ｐゴシック" panose="020B0600070205080204" pitchFamily="34" charset="-128"/>
              </a:defRPr>
            </a:lvl2pPr>
            <a:lvl3pPr marL="1143000" indent="-228600">
              <a:defRPr kumimoji="1" sz="1900">
                <a:solidFill>
                  <a:schemeClr val="tx1"/>
                </a:solidFill>
                <a:latin typeface="Arial" panose="020B0604020202020204" pitchFamily="34" charset="0"/>
                <a:ea typeface="ＭＳ Ｐゴシック" panose="020B0600070205080204" pitchFamily="34" charset="-128"/>
              </a:defRPr>
            </a:lvl3pPr>
            <a:lvl4pPr marL="1600200" indent="-228600">
              <a:defRPr kumimoji="1" sz="1900">
                <a:solidFill>
                  <a:schemeClr val="tx1"/>
                </a:solidFill>
                <a:latin typeface="Arial" panose="020B0604020202020204" pitchFamily="34" charset="0"/>
                <a:ea typeface="ＭＳ Ｐゴシック" panose="020B0600070205080204" pitchFamily="34" charset="-128"/>
              </a:defRPr>
            </a:lvl4pPr>
            <a:lvl5pPr marL="2057400" indent="-228600">
              <a:defRPr kumimoji="1" sz="19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sz="1900">
                <a:solidFill>
                  <a:schemeClr val="tx1"/>
                </a:solidFill>
                <a:latin typeface="Arial" panose="020B0604020202020204" pitchFamily="34" charset="0"/>
                <a:ea typeface="ＭＳ Ｐゴシック" panose="020B0600070205080204" pitchFamily="34" charset="-128"/>
              </a:defRPr>
            </a:lvl9pPr>
          </a:lstStyle>
          <a:p>
            <a:r>
              <a:rPr lang="en-US" altLang="en-US" sz="975" dirty="0"/>
              <a:t>refer</a:t>
            </a:r>
          </a:p>
        </p:txBody>
      </p:sp>
      <p:cxnSp>
        <p:nvCxnSpPr>
          <p:cNvPr id="22556" name="Straight Arrow Connector 38"/>
          <p:cNvCxnSpPr>
            <a:cxnSpLocks noChangeShapeType="1"/>
            <a:endCxn id="50" idx="1"/>
          </p:cNvCxnSpPr>
          <p:nvPr/>
        </p:nvCxnSpPr>
        <p:spPr bwMode="auto">
          <a:xfrm flipV="1">
            <a:off x="4512007" y="4295702"/>
            <a:ext cx="1258850" cy="409649"/>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22559" name="Straight Arrow Connector 47"/>
          <p:cNvCxnSpPr>
            <a:cxnSpLocks noChangeShapeType="1"/>
          </p:cNvCxnSpPr>
          <p:nvPr/>
        </p:nvCxnSpPr>
        <p:spPr bwMode="auto">
          <a:xfrm>
            <a:off x="4989910" y="3198020"/>
            <a:ext cx="780947" cy="82701"/>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58" name="Shape 141"/>
          <p:cNvSpPr txBox="1">
            <a:spLocks noGrp="1"/>
          </p:cNvSpPr>
          <p:nvPr>
            <p:ph type="sldNum" idx="12"/>
          </p:nvPr>
        </p:nvSpPr>
        <p:spPr>
          <a:xfrm>
            <a:off x="0" y="0"/>
            <a:ext cx="594900" cy="7317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r>
              <a:rPr lang="en" dirty="0" smtClean="0"/>
              <a:t>9</a:t>
            </a:r>
            <a:endParaRPr dirty="0"/>
          </a:p>
        </p:txBody>
      </p:sp>
    </p:spTree>
    <p:extLst>
      <p:ext uri="{BB962C8B-B14F-4D97-AF65-F5344CB8AC3E}">
        <p14:creationId xmlns:p14="http://schemas.microsoft.com/office/powerpoint/2010/main" val="12574358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lliam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773</TotalTime>
  <Words>1053</Words>
  <Application>Microsoft Office PowerPoint</Application>
  <PresentationFormat>On-screen Show (16:9)</PresentationFormat>
  <Paragraphs>322</Paragraphs>
  <Slides>20</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William template</vt:lpstr>
      <vt:lpstr>think-cell Slide</vt:lpstr>
      <vt:lpstr>Implemetnation of Knowledge Sharing System  </vt:lpstr>
      <vt:lpstr>PowerPoint Presentation</vt:lpstr>
      <vt:lpstr>Background of My Action Plan(1/3)</vt:lpstr>
      <vt:lpstr>Background of My Action Plan(2/3) My Role in my Organization</vt:lpstr>
      <vt:lpstr>Background of My Action Plan(3/3)</vt:lpstr>
      <vt:lpstr>PowerPoint Presentation</vt:lpstr>
      <vt:lpstr> problems (2/2) Current business &amp; system image </vt:lpstr>
      <vt:lpstr>Solution(1/2)</vt:lpstr>
      <vt:lpstr>Solution (2/2) Future Business &amp; System Image</vt:lpstr>
      <vt:lpstr>Effect of the action plan(Qualitative)(1/2)</vt:lpstr>
      <vt:lpstr>Effect of the action plan(Quantitative)(2/2)</vt:lpstr>
      <vt:lpstr>PowerPoint Presentation</vt:lpstr>
      <vt:lpstr>PowerPoint Presentation</vt:lpstr>
      <vt:lpstr>PowerPoint Presentation</vt:lpstr>
      <vt:lpstr> Cost for the action plan(In house development) </vt:lpstr>
      <vt:lpstr> Cost for the action plan(Outsourcing) </vt:lpstr>
      <vt:lpstr>Risk for the action plan</vt:lpstr>
      <vt:lpstr>Conclusion</vt:lpstr>
      <vt:lpstr>THANK You!</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dc:title>
  <dc:creator>HP</dc:creator>
  <cp:lastModifiedBy>HP</cp:lastModifiedBy>
  <cp:revision>218</cp:revision>
  <dcterms:modified xsi:type="dcterms:W3CDTF">2018-07-28T07:18:21Z</dcterms:modified>
</cp:coreProperties>
</file>